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media/image59.jpg" ContentType="image/jpg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9"/>
  </p:notesMasterIdLst>
  <p:sldIdLst>
    <p:sldId id="455" r:id="rId2"/>
    <p:sldId id="389" r:id="rId3"/>
    <p:sldId id="438" r:id="rId4"/>
    <p:sldId id="471" r:id="rId5"/>
    <p:sldId id="431" r:id="rId6"/>
    <p:sldId id="433" r:id="rId7"/>
    <p:sldId id="470" r:id="rId8"/>
    <p:sldId id="465" r:id="rId9"/>
    <p:sldId id="469" r:id="rId10"/>
    <p:sldId id="362" r:id="rId11"/>
    <p:sldId id="364" r:id="rId12"/>
    <p:sldId id="342" r:id="rId13"/>
    <p:sldId id="294" r:id="rId14"/>
    <p:sldId id="457" r:id="rId15"/>
    <p:sldId id="370" r:id="rId16"/>
    <p:sldId id="451" r:id="rId17"/>
    <p:sldId id="301" r:id="rId18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rina" initials="M" lastIdx="9" clrIdx="0">
    <p:extLst>
      <p:ext uri="{19B8F6BF-5375-455C-9EA6-DF929625EA0E}">
        <p15:presenceInfo xmlns:p15="http://schemas.microsoft.com/office/powerpoint/2012/main" userId="Marina" providerId="None"/>
      </p:ext>
    </p:extLst>
  </p:cmAuthor>
  <p:cmAuthor id="2" name="Leilas" initials="L" lastIdx="11" clrIdx="1">
    <p:extLst>
      <p:ext uri="{19B8F6BF-5375-455C-9EA6-DF929625EA0E}">
        <p15:presenceInfo xmlns:p15="http://schemas.microsoft.com/office/powerpoint/2012/main" userId="Leilas" providerId="None"/>
      </p:ext>
    </p:extLst>
  </p:cmAuthor>
  <p:cmAuthor id="3" name="Admin" initials="AAA" lastIdx="2" clrIdx="2">
    <p:extLst>
      <p:ext uri="{19B8F6BF-5375-455C-9EA6-DF929625EA0E}">
        <p15:presenceInfo xmlns:p15="http://schemas.microsoft.com/office/powerpoint/2012/main" userId="Admi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D2B8D"/>
    <a:srgbClr val="FFFFFF"/>
    <a:srgbClr val="40A7E1"/>
    <a:srgbClr val="9ED442"/>
    <a:srgbClr val="F5B144"/>
    <a:srgbClr val="F6DB7E"/>
    <a:srgbClr val="E9950D"/>
    <a:srgbClr val="4383DD"/>
    <a:srgbClr val="79BFD5"/>
    <a:srgbClr val="0073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5444" autoAdjust="0"/>
    <p:restoredTop sz="96408" autoAdjust="0"/>
  </p:normalViewPr>
  <p:slideViewPr>
    <p:cSldViewPr snapToGrid="0">
      <p:cViewPr varScale="1">
        <p:scale>
          <a:sx n="65" d="100"/>
          <a:sy n="65" d="100"/>
        </p:scale>
        <p:origin x="498" y="7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DBF8789-1979-4371-9085-ABA0C510A7FF}" type="datetimeFigureOut">
              <a:rPr lang="ru-RU" smtClean="0"/>
              <a:t>26.08.2020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BBC4957-3E6D-44F6-80D1-E054D6E6E008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937817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4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/>
          <a:lstStyle/>
          <a:p>
            <a:r>
              <a:rPr lang="ru-RU" dirty="0"/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/>
          <a:lstStyle/>
          <a:p>
            <a:fld id="{F834F1D5-33B3-480A-A4E8-311841A67364}" type="datetime1">
              <a:rPr lang="ru-RU" smtClean="0"/>
              <a:t>26.08.202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708095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8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8F52C9-DC5B-46C3-93BE-8BD8D1CF841E}" type="datetime1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240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.08.2020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1386019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BC4957-3E6D-44F6-80D1-E054D6E6E008}" type="slidenum">
              <a:rPr lang="ru-RU" smtClean="0"/>
              <a:t>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1739042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 defTabSz="914306">
              <a:defRPr/>
            </a:pPr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dirty="0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CBA16CB4-D695-4AC0-A0BD-C5D592F89335}" type="datetime1">
              <a:rPr lang="ru-RU" smtClean="0"/>
              <a:t>26.08.202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2573840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BC4957-3E6D-44F6-80D1-E054D6E6E008}" type="slidenum">
              <a:rPr lang="ru-RU" smtClean="0"/>
              <a:t>1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0571007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4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/>
          <a:lstStyle/>
          <a:p>
            <a:r>
              <a:rPr lang="ru-RU" dirty="0"/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/>
          <a:lstStyle/>
          <a:p>
            <a:fld id="{F834F1D5-33B3-480A-A4E8-311841A67364}" type="datetime1">
              <a:rPr lang="ru-RU" smtClean="0"/>
              <a:t>26.08.202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227867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26.08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905021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26.08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98465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26.08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36884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body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Shape 59"/>
          <p:cNvSpPr txBox="1">
            <a:spLocks noGrp="1"/>
          </p:cNvSpPr>
          <p:nvPr>
            <p:ph type="title"/>
          </p:nvPr>
        </p:nvSpPr>
        <p:spPr>
          <a:xfrm>
            <a:off x="609600" y="274637"/>
            <a:ext cx="10972800" cy="114320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60" name="Shape 60"/>
          <p:cNvSpPr txBox="1">
            <a:spLocks noGrp="1"/>
          </p:cNvSpPr>
          <p:nvPr>
            <p:ph type="body" idx="1"/>
          </p:nvPr>
        </p:nvSpPr>
        <p:spPr>
          <a:xfrm>
            <a:off x="609600" y="1600200"/>
            <a:ext cx="10972800" cy="49676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61" name="Shape 61"/>
          <p:cNvSpPr txBox="1">
            <a:spLocks noGrp="1"/>
          </p:cNvSpPr>
          <p:nvPr>
            <p:ph type="sldNum" idx="12"/>
          </p:nvPr>
        </p:nvSpPr>
        <p:spPr>
          <a:xfrm>
            <a:off x="11409055" y="6333133"/>
            <a:ext cx="731600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9651811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26.08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163320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26.08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221370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26.08.2020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662915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26.08.2020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350319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26.08.2020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064591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26.08.2020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322994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26.08.2020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178442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26.08.2020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004575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08523F2-53FE-42F4-86B8-4598D2998874}" type="datetimeFigureOut">
              <a:rPr lang="ru-RU" smtClean="0"/>
              <a:t>26.08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45032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.xml"/><Relationship Id="rId7" Type="http://schemas.openxmlformats.org/officeDocument/2006/relationships/image" Target="../media/image1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jpeg"/><Relationship Id="rId3" Type="http://schemas.openxmlformats.org/officeDocument/2006/relationships/image" Target="../media/image42.png"/><Relationship Id="rId7" Type="http://schemas.openxmlformats.org/officeDocument/2006/relationships/image" Target="../media/image46.jpe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emf"/><Relationship Id="rId12" Type="http://schemas.openxmlformats.org/officeDocument/2006/relationships/image" Target="../media/image52.jpe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11" Type="http://schemas.openxmlformats.org/officeDocument/2006/relationships/image" Target="../media/image51.jpeg"/><Relationship Id="rId5" Type="http://schemas.openxmlformats.org/officeDocument/2006/relationships/oleObject" Target="../embeddings/oleObject3.bin"/><Relationship Id="rId10" Type="http://schemas.openxmlformats.org/officeDocument/2006/relationships/image" Target="../media/image50.pn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49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5.png"/><Relationship Id="rId5" Type="http://schemas.openxmlformats.org/officeDocument/2006/relationships/image" Target="../media/image54.jpeg"/><Relationship Id="rId4" Type="http://schemas.openxmlformats.org/officeDocument/2006/relationships/image" Target="../media/image53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emf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57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prosv.ru/static/profil_school" TargetMode="External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59.jp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jpeg"/><Relationship Id="rId3" Type="http://schemas.openxmlformats.org/officeDocument/2006/relationships/image" Target="../media/image3.emf"/><Relationship Id="rId7" Type="http://schemas.openxmlformats.org/officeDocument/2006/relationships/image" Target="../media/image64.jpe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3.jpeg"/><Relationship Id="rId5" Type="http://schemas.openxmlformats.org/officeDocument/2006/relationships/image" Target="../media/image62.jpeg"/><Relationship Id="rId4" Type="http://schemas.openxmlformats.org/officeDocument/2006/relationships/image" Target="../media/image61.jpeg"/><Relationship Id="rId9" Type="http://schemas.openxmlformats.org/officeDocument/2006/relationships/image" Target="../media/image66.jpe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hyperlink" Target="mailto:vopros@prosv.ru" TargetMode="External"/><Relationship Id="rId3" Type="http://schemas.openxmlformats.org/officeDocument/2006/relationships/tags" Target="../tags/tag6.xml"/><Relationship Id="rId7" Type="http://schemas.openxmlformats.org/officeDocument/2006/relationships/image" Target="../media/image1.emf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6.xml"/><Relationship Id="rId10" Type="http://schemas.openxmlformats.org/officeDocument/2006/relationships/image" Target="../media/image67.gif"/><Relationship Id="rId4" Type="http://schemas.openxmlformats.org/officeDocument/2006/relationships/slideLayout" Target="../slideLayouts/slideLayout1.xml"/><Relationship Id="rId9" Type="http://schemas.openxmlformats.org/officeDocument/2006/relationships/hyperlink" Target="https://shop.prosv.ru/formirovanie-funkcionalnoj-gramotnosti-sbornik-zadach-po-russkomu-yazyku-dlya-8-11-klassov2781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jp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7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13" Type="http://schemas.openxmlformats.org/officeDocument/2006/relationships/image" Target="../media/image23.png"/><Relationship Id="rId3" Type="http://schemas.openxmlformats.org/officeDocument/2006/relationships/image" Target="../media/image3.emf"/><Relationship Id="rId7" Type="http://schemas.openxmlformats.org/officeDocument/2006/relationships/image" Target="../media/image17.jpeg"/><Relationship Id="rId12" Type="http://schemas.openxmlformats.org/officeDocument/2006/relationships/image" Target="../media/image22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6.jpeg"/><Relationship Id="rId11" Type="http://schemas.openxmlformats.org/officeDocument/2006/relationships/image" Target="../media/image21.png"/><Relationship Id="rId5" Type="http://schemas.openxmlformats.org/officeDocument/2006/relationships/image" Target="../media/image15.jpeg"/><Relationship Id="rId10" Type="http://schemas.openxmlformats.org/officeDocument/2006/relationships/image" Target="../media/image20.png"/><Relationship Id="rId4" Type="http://schemas.openxmlformats.org/officeDocument/2006/relationships/image" Target="../media/image14.jpeg"/><Relationship Id="rId9" Type="http://schemas.openxmlformats.org/officeDocument/2006/relationships/image" Target="../media/image19.png"/><Relationship Id="rId14" Type="http://schemas.openxmlformats.org/officeDocument/2006/relationships/image" Target="../media/image24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jpeg"/><Relationship Id="rId3" Type="http://schemas.openxmlformats.org/officeDocument/2006/relationships/image" Target="../media/image25.jpeg"/><Relationship Id="rId7" Type="http://schemas.openxmlformats.org/officeDocument/2006/relationships/image" Target="../media/image29.jpe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8.jpeg"/><Relationship Id="rId11" Type="http://schemas.openxmlformats.org/officeDocument/2006/relationships/image" Target="../media/image33.jpeg"/><Relationship Id="rId5" Type="http://schemas.openxmlformats.org/officeDocument/2006/relationships/image" Target="../media/image27.jpeg"/><Relationship Id="rId10" Type="http://schemas.openxmlformats.org/officeDocument/2006/relationships/image" Target="../media/image32.jpeg"/><Relationship Id="rId4" Type="http://schemas.openxmlformats.org/officeDocument/2006/relationships/image" Target="../media/image26.jpeg"/><Relationship Id="rId9" Type="http://schemas.openxmlformats.org/officeDocument/2006/relationships/image" Target="../media/image31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image" Target="../media/image3.emf"/><Relationship Id="rId7" Type="http://schemas.openxmlformats.org/officeDocument/2006/relationships/image" Target="../media/image3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6.png"/><Relationship Id="rId11" Type="http://schemas.openxmlformats.org/officeDocument/2006/relationships/image" Target="../media/image41.png"/><Relationship Id="rId5" Type="http://schemas.openxmlformats.org/officeDocument/2006/relationships/image" Target="../media/image35.png"/><Relationship Id="rId10" Type="http://schemas.openxmlformats.org/officeDocument/2006/relationships/image" Target="../media/image40.png"/><Relationship Id="rId4" Type="http://schemas.openxmlformats.org/officeDocument/2006/relationships/image" Target="../media/image34.png"/><Relationship Id="rId9" Type="http://schemas.openxmlformats.org/officeDocument/2006/relationships/image" Target="../media/image3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5"/>
          <p:cNvSpPr>
            <a:spLocks noChangeArrowheads="1"/>
          </p:cNvSpPr>
          <p:nvPr/>
        </p:nvSpPr>
        <p:spPr bwMode="auto">
          <a:xfrm>
            <a:off x="-1" y="8533"/>
            <a:ext cx="12192001" cy="6849467"/>
          </a:xfrm>
          <a:prstGeom prst="rect">
            <a:avLst/>
          </a:prstGeom>
          <a:solidFill>
            <a:srgbClr val="F0F8F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6" name="Прямоугольник 95"/>
          <p:cNvSpPr/>
          <p:nvPr/>
        </p:nvSpPr>
        <p:spPr>
          <a:xfrm>
            <a:off x="186182" y="4101075"/>
            <a:ext cx="11819633" cy="211223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29" name="Rectangle 7"/>
          <p:cNvSpPr>
            <a:spLocks noChangeArrowheads="1"/>
          </p:cNvSpPr>
          <p:nvPr/>
        </p:nvSpPr>
        <p:spPr bwMode="auto">
          <a:xfrm>
            <a:off x="7573455" y="2669879"/>
            <a:ext cx="1477453" cy="1233124"/>
          </a:xfrm>
          <a:prstGeom prst="rect">
            <a:avLst/>
          </a:prstGeom>
          <a:solidFill>
            <a:srgbClr val="9ED442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0" name="Rectangle 8"/>
          <p:cNvSpPr>
            <a:spLocks noChangeArrowheads="1"/>
          </p:cNvSpPr>
          <p:nvPr/>
        </p:nvSpPr>
        <p:spPr bwMode="auto">
          <a:xfrm>
            <a:off x="4618544" y="203633"/>
            <a:ext cx="1477453" cy="1233124"/>
          </a:xfrm>
          <a:prstGeom prst="rect">
            <a:avLst/>
          </a:prstGeom>
          <a:solidFill>
            <a:srgbClr val="9ED442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1" name="Rectangle 9"/>
          <p:cNvSpPr>
            <a:spLocks noChangeArrowheads="1"/>
          </p:cNvSpPr>
          <p:nvPr/>
        </p:nvSpPr>
        <p:spPr bwMode="auto">
          <a:xfrm>
            <a:off x="10528363" y="2669879"/>
            <a:ext cx="1477453" cy="1233124"/>
          </a:xfrm>
          <a:prstGeom prst="rect">
            <a:avLst/>
          </a:prstGeom>
          <a:solidFill>
            <a:srgbClr val="4383DD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2" name="Rectangle 10"/>
          <p:cNvSpPr>
            <a:spLocks noChangeArrowheads="1"/>
          </p:cNvSpPr>
          <p:nvPr/>
        </p:nvSpPr>
        <p:spPr bwMode="auto">
          <a:xfrm>
            <a:off x="7573455" y="1436757"/>
            <a:ext cx="1477453" cy="1233124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3" name="Rectangle 11"/>
          <p:cNvSpPr>
            <a:spLocks noChangeArrowheads="1"/>
          </p:cNvSpPr>
          <p:nvPr/>
        </p:nvSpPr>
        <p:spPr bwMode="auto">
          <a:xfrm>
            <a:off x="3141091" y="203633"/>
            <a:ext cx="1477453" cy="1233124"/>
          </a:xfrm>
          <a:prstGeom prst="rect">
            <a:avLst/>
          </a:prstGeom>
          <a:solidFill>
            <a:srgbClr val="5471A9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4" name="Rectangle 12"/>
          <p:cNvSpPr>
            <a:spLocks noChangeArrowheads="1"/>
          </p:cNvSpPr>
          <p:nvPr/>
        </p:nvSpPr>
        <p:spPr bwMode="auto">
          <a:xfrm>
            <a:off x="6096002" y="203633"/>
            <a:ext cx="1477453" cy="1233124"/>
          </a:xfrm>
          <a:prstGeom prst="rect">
            <a:avLst/>
          </a:prstGeom>
          <a:solidFill>
            <a:srgbClr val="4383DD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5" name="Rectangle 13"/>
          <p:cNvSpPr>
            <a:spLocks noChangeArrowheads="1"/>
          </p:cNvSpPr>
          <p:nvPr/>
        </p:nvSpPr>
        <p:spPr bwMode="auto">
          <a:xfrm>
            <a:off x="10528363" y="203633"/>
            <a:ext cx="1477453" cy="1233124"/>
          </a:xfrm>
          <a:prstGeom prst="rect">
            <a:avLst/>
          </a:prstGeom>
          <a:solidFill>
            <a:srgbClr val="43D1A1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6" name="Rectangle 14"/>
          <p:cNvSpPr>
            <a:spLocks noChangeArrowheads="1"/>
          </p:cNvSpPr>
          <p:nvPr/>
        </p:nvSpPr>
        <p:spPr bwMode="auto">
          <a:xfrm>
            <a:off x="9050908" y="1436757"/>
            <a:ext cx="1477453" cy="1233124"/>
          </a:xfrm>
          <a:prstGeom prst="rect">
            <a:avLst/>
          </a:prstGeom>
          <a:solidFill>
            <a:srgbClr val="4383DD"/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7" name="Rectangle 15"/>
          <p:cNvSpPr>
            <a:spLocks noChangeArrowheads="1"/>
          </p:cNvSpPr>
          <p:nvPr/>
        </p:nvSpPr>
        <p:spPr bwMode="auto">
          <a:xfrm>
            <a:off x="186183" y="203633"/>
            <a:ext cx="1477453" cy="1233124"/>
          </a:xfrm>
          <a:prstGeom prst="rect">
            <a:avLst/>
          </a:prstGeom>
          <a:solidFill>
            <a:srgbClr val="43D1A1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8" name="Rectangle 16"/>
          <p:cNvSpPr>
            <a:spLocks noChangeArrowheads="1"/>
          </p:cNvSpPr>
          <p:nvPr/>
        </p:nvSpPr>
        <p:spPr bwMode="auto">
          <a:xfrm>
            <a:off x="7573455" y="203633"/>
            <a:ext cx="2954908" cy="1233124"/>
          </a:xfrm>
          <a:prstGeom prst="rect">
            <a:avLst/>
          </a:prstGeom>
          <a:solidFill>
            <a:srgbClr val="2D2B8D"/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9" name="Rectangle 17"/>
          <p:cNvSpPr>
            <a:spLocks noChangeArrowheads="1"/>
          </p:cNvSpPr>
          <p:nvPr/>
        </p:nvSpPr>
        <p:spPr bwMode="auto">
          <a:xfrm>
            <a:off x="186183" y="2669879"/>
            <a:ext cx="1477453" cy="1233124"/>
          </a:xfrm>
          <a:prstGeom prst="rect">
            <a:avLst/>
          </a:prstGeom>
          <a:solidFill>
            <a:srgbClr val="F5B144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0" name="Rectangle 18"/>
          <p:cNvSpPr>
            <a:spLocks noChangeArrowheads="1"/>
          </p:cNvSpPr>
          <p:nvPr/>
        </p:nvSpPr>
        <p:spPr bwMode="auto">
          <a:xfrm>
            <a:off x="3141091" y="2669879"/>
            <a:ext cx="1477453" cy="1233124"/>
          </a:xfrm>
          <a:prstGeom prst="rect">
            <a:avLst/>
          </a:prstGeom>
          <a:solidFill>
            <a:srgbClr val="5471A9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1" name="Rectangle 19"/>
          <p:cNvSpPr>
            <a:spLocks noChangeArrowheads="1"/>
          </p:cNvSpPr>
          <p:nvPr/>
        </p:nvSpPr>
        <p:spPr bwMode="auto">
          <a:xfrm>
            <a:off x="6096002" y="1436757"/>
            <a:ext cx="1477453" cy="1233124"/>
          </a:xfrm>
          <a:prstGeom prst="rect">
            <a:avLst/>
          </a:prstGeom>
          <a:solidFill>
            <a:srgbClr val="40D4E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2" name="Rectangle 20"/>
          <p:cNvSpPr>
            <a:spLocks noChangeArrowheads="1"/>
          </p:cNvSpPr>
          <p:nvPr/>
        </p:nvSpPr>
        <p:spPr bwMode="auto">
          <a:xfrm>
            <a:off x="10528363" y="1436757"/>
            <a:ext cx="1477453" cy="1233124"/>
          </a:xfrm>
          <a:prstGeom prst="rect">
            <a:avLst/>
          </a:prstGeom>
          <a:solidFill>
            <a:srgbClr val="F5B144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3" name="Rectangle 21"/>
          <p:cNvSpPr>
            <a:spLocks noChangeArrowheads="1"/>
          </p:cNvSpPr>
          <p:nvPr/>
        </p:nvSpPr>
        <p:spPr bwMode="auto">
          <a:xfrm>
            <a:off x="4618544" y="1436757"/>
            <a:ext cx="1477453" cy="1233124"/>
          </a:xfrm>
          <a:prstGeom prst="rect">
            <a:avLst/>
          </a:prstGeom>
          <a:solidFill>
            <a:srgbClr val="40A7E1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4" name="Rectangle 22"/>
          <p:cNvSpPr>
            <a:spLocks noChangeArrowheads="1"/>
          </p:cNvSpPr>
          <p:nvPr/>
        </p:nvSpPr>
        <p:spPr bwMode="auto">
          <a:xfrm>
            <a:off x="3141091" y="1436757"/>
            <a:ext cx="1477453" cy="1233124"/>
          </a:xfrm>
          <a:prstGeom prst="rect">
            <a:avLst/>
          </a:prstGeom>
          <a:solidFill>
            <a:srgbClr val="43D1A1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5" name="Rectangle 23"/>
          <p:cNvSpPr>
            <a:spLocks noChangeArrowheads="1"/>
          </p:cNvSpPr>
          <p:nvPr/>
        </p:nvSpPr>
        <p:spPr bwMode="auto">
          <a:xfrm>
            <a:off x="1663636" y="2669879"/>
            <a:ext cx="1477453" cy="1233124"/>
          </a:xfrm>
          <a:prstGeom prst="rect">
            <a:avLst/>
          </a:prstGeom>
          <a:solidFill>
            <a:srgbClr val="40D4E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6" name="Rectangle 24"/>
          <p:cNvSpPr>
            <a:spLocks noChangeArrowheads="1"/>
          </p:cNvSpPr>
          <p:nvPr/>
        </p:nvSpPr>
        <p:spPr bwMode="auto">
          <a:xfrm>
            <a:off x="1663636" y="203633"/>
            <a:ext cx="1477453" cy="1233124"/>
          </a:xfrm>
          <a:prstGeom prst="rect">
            <a:avLst/>
          </a:prstGeom>
          <a:solidFill>
            <a:srgbClr val="F5B144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7" name="Rectangle 25"/>
          <p:cNvSpPr>
            <a:spLocks noChangeArrowheads="1"/>
          </p:cNvSpPr>
          <p:nvPr/>
        </p:nvSpPr>
        <p:spPr bwMode="auto">
          <a:xfrm>
            <a:off x="1663636" y="1436757"/>
            <a:ext cx="1477453" cy="1233124"/>
          </a:xfrm>
          <a:prstGeom prst="rect">
            <a:avLst/>
          </a:prstGeom>
          <a:solidFill>
            <a:srgbClr val="4383DD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8" name="Rectangle 26"/>
          <p:cNvSpPr>
            <a:spLocks noChangeArrowheads="1"/>
          </p:cNvSpPr>
          <p:nvPr/>
        </p:nvSpPr>
        <p:spPr bwMode="auto">
          <a:xfrm>
            <a:off x="4618544" y="2669879"/>
            <a:ext cx="1477453" cy="1233124"/>
          </a:xfrm>
          <a:prstGeom prst="rect">
            <a:avLst/>
          </a:prstGeom>
          <a:solidFill>
            <a:srgbClr val="F5B144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9" name="Rectangle 27"/>
          <p:cNvSpPr>
            <a:spLocks noChangeArrowheads="1"/>
          </p:cNvSpPr>
          <p:nvPr/>
        </p:nvSpPr>
        <p:spPr bwMode="auto">
          <a:xfrm>
            <a:off x="6096002" y="2669879"/>
            <a:ext cx="1477453" cy="1233124"/>
          </a:xfrm>
          <a:prstGeom prst="rect">
            <a:avLst/>
          </a:prstGeom>
          <a:solidFill>
            <a:srgbClr val="4383DD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0" name="Rectangle 28"/>
          <p:cNvSpPr>
            <a:spLocks noChangeArrowheads="1"/>
          </p:cNvSpPr>
          <p:nvPr/>
        </p:nvSpPr>
        <p:spPr bwMode="auto">
          <a:xfrm>
            <a:off x="9050908" y="2669879"/>
            <a:ext cx="1477453" cy="1233124"/>
          </a:xfrm>
          <a:prstGeom prst="rect">
            <a:avLst/>
          </a:prstGeom>
          <a:solidFill>
            <a:srgbClr val="40D4E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1" name="Rectangle 29"/>
          <p:cNvSpPr>
            <a:spLocks noChangeArrowheads="1"/>
          </p:cNvSpPr>
          <p:nvPr/>
        </p:nvSpPr>
        <p:spPr bwMode="auto">
          <a:xfrm>
            <a:off x="186183" y="1436757"/>
            <a:ext cx="1477453" cy="1233124"/>
          </a:xfrm>
          <a:prstGeom prst="rect">
            <a:avLst/>
          </a:prstGeom>
          <a:solidFill>
            <a:srgbClr val="9ED442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2" name="Freeform 30"/>
          <p:cNvSpPr>
            <a:spLocks noEditPoints="1"/>
          </p:cNvSpPr>
          <p:nvPr/>
        </p:nvSpPr>
        <p:spPr bwMode="auto">
          <a:xfrm>
            <a:off x="10963791" y="3056737"/>
            <a:ext cx="606596" cy="489249"/>
          </a:xfrm>
          <a:custGeom>
            <a:avLst/>
            <a:gdLst>
              <a:gd name="T0" fmla="*/ 442 w 884"/>
              <a:gd name="T1" fmla="*/ 286 h 711"/>
              <a:gd name="T2" fmla="*/ 334 w 884"/>
              <a:gd name="T3" fmla="*/ 179 h 711"/>
              <a:gd name="T4" fmla="*/ 442 w 884"/>
              <a:gd name="T5" fmla="*/ 71 h 711"/>
              <a:gd name="T6" fmla="*/ 549 w 884"/>
              <a:gd name="T7" fmla="*/ 179 h 711"/>
              <a:gd name="T8" fmla="*/ 442 w 884"/>
              <a:gd name="T9" fmla="*/ 286 h 711"/>
              <a:gd name="T10" fmla="*/ 442 w 884"/>
              <a:gd name="T11" fmla="*/ 0 h 711"/>
              <a:gd name="T12" fmla="*/ 263 w 884"/>
              <a:gd name="T13" fmla="*/ 179 h 711"/>
              <a:gd name="T14" fmla="*/ 442 w 884"/>
              <a:gd name="T15" fmla="*/ 358 h 711"/>
              <a:gd name="T16" fmla="*/ 514 w 884"/>
              <a:gd name="T17" fmla="*/ 343 h 711"/>
              <a:gd name="T18" fmla="*/ 514 w 884"/>
              <a:gd name="T19" fmla="*/ 577 h 711"/>
              <a:gd name="T20" fmla="*/ 442 w 884"/>
              <a:gd name="T21" fmla="*/ 529 h 711"/>
              <a:gd name="T22" fmla="*/ 370 w 884"/>
              <a:gd name="T23" fmla="*/ 577 h 711"/>
              <a:gd name="T24" fmla="*/ 370 w 884"/>
              <a:gd name="T25" fmla="*/ 391 h 711"/>
              <a:gd name="T26" fmla="*/ 299 w 884"/>
              <a:gd name="T27" fmla="*/ 391 h 711"/>
              <a:gd name="T28" fmla="*/ 299 w 884"/>
              <a:gd name="T29" fmla="*/ 711 h 711"/>
              <a:gd name="T30" fmla="*/ 442 w 884"/>
              <a:gd name="T31" fmla="*/ 616 h 711"/>
              <a:gd name="T32" fmla="*/ 585 w 884"/>
              <a:gd name="T33" fmla="*/ 711 h 711"/>
              <a:gd name="T34" fmla="*/ 585 w 884"/>
              <a:gd name="T35" fmla="*/ 285 h 711"/>
              <a:gd name="T36" fmla="*/ 621 w 884"/>
              <a:gd name="T37" fmla="*/ 179 h 711"/>
              <a:gd name="T38" fmla="*/ 442 w 884"/>
              <a:gd name="T39" fmla="*/ 0 h 711"/>
              <a:gd name="T40" fmla="*/ 836 w 884"/>
              <a:gd name="T41" fmla="*/ 36 h 711"/>
              <a:gd name="T42" fmla="*/ 662 w 884"/>
              <a:gd name="T43" fmla="*/ 60 h 711"/>
              <a:gd name="T44" fmla="*/ 687 w 884"/>
              <a:gd name="T45" fmla="*/ 130 h 711"/>
              <a:gd name="T46" fmla="*/ 789 w 884"/>
              <a:gd name="T47" fmla="*/ 116 h 711"/>
              <a:gd name="T48" fmla="*/ 789 w 884"/>
              <a:gd name="T49" fmla="*/ 277 h 711"/>
              <a:gd name="T50" fmla="*/ 678 w 884"/>
              <a:gd name="T51" fmla="*/ 262 h 711"/>
              <a:gd name="T52" fmla="*/ 641 w 884"/>
              <a:gd name="T53" fmla="*/ 330 h 711"/>
              <a:gd name="T54" fmla="*/ 836 w 884"/>
              <a:gd name="T55" fmla="*/ 358 h 711"/>
              <a:gd name="T56" fmla="*/ 836 w 884"/>
              <a:gd name="T57" fmla="*/ 36 h 711"/>
              <a:gd name="T58" fmla="*/ 95 w 884"/>
              <a:gd name="T59" fmla="*/ 277 h 711"/>
              <a:gd name="T60" fmla="*/ 95 w 884"/>
              <a:gd name="T61" fmla="*/ 116 h 711"/>
              <a:gd name="T62" fmla="*/ 196 w 884"/>
              <a:gd name="T63" fmla="*/ 130 h 711"/>
              <a:gd name="T64" fmla="*/ 221 w 884"/>
              <a:gd name="T65" fmla="*/ 60 h 711"/>
              <a:gd name="T66" fmla="*/ 48 w 884"/>
              <a:gd name="T67" fmla="*/ 35 h 711"/>
              <a:gd name="T68" fmla="*/ 48 w 884"/>
              <a:gd name="T69" fmla="*/ 358 h 711"/>
              <a:gd name="T70" fmla="*/ 243 w 884"/>
              <a:gd name="T71" fmla="*/ 331 h 711"/>
              <a:gd name="T72" fmla="*/ 206 w 884"/>
              <a:gd name="T73" fmla="*/ 263 h 711"/>
              <a:gd name="T74" fmla="*/ 95 w 884"/>
              <a:gd name="T75" fmla="*/ 277 h 7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884" h="711">
                <a:moveTo>
                  <a:pt x="442" y="286"/>
                </a:moveTo>
                <a:cubicBezTo>
                  <a:pt x="382" y="286"/>
                  <a:pt x="334" y="238"/>
                  <a:pt x="334" y="179"/>
                </a:cubicBezTo>
                <a:cubicBezTo>
                  <a:pt x="334" y="120"/>
                  <a:pt x="382" y="71"/>
                  <a:pt x="442" y="71"/>
                </a:cubicBezTo>
                <a:cubicBezTo>
                  <a:pt x="501" y="71"/>
                  <a:pt x="549" y="120"/>
                  <a:pt x="549" y="179"/>
                </a:cubicBezTo>
                <a:cubicBezTo>
                  <a:pt x="549" y="238"/>
                  <a:pt x="501" y="286"/>
                  <a:pt x="442" y="286"/>
                </a:cubicBezTo>
                <a:close/>
                <a:moveTo>
                  <a:pt x="442" y="0"/>
                </a:moveTo>
                <a:cubicBezTo>
                  <a:pt x="343" y="0"/>
                  <a:pt x="263" y="80"/>
                  <a:pt x="263" y="179"/>
                </a:cubicBezTo>
                <a:cubicBezTo>
                  <a:pt x="263" y="277"/>
                  <a:pt x="343" y="358"/>
                  <a:pt x="442" y="358"/>
                </a:cubicBezTo>
                <a:cubicBezTo>
                  <a:pt x="467" y="358"/>
                  <a:pt x="478" y="352"/>
                  <a:pt x="514" y="343"/>
                </a:cubicBezTo>
                <a:lnTo>
                  <a:pt x="514" y="577"/>
                </a:lnTo>
                <a:lnTo>
                  <a:pt x="442" y="529"/>
                </a:lnTo>
                <a:lnTo>
                  <a:pt x="370" y="577"/>
                </a:lnTo>
                <a:lnTo>
                  <a:pt x="370" y="391"/>
                </a:lnTo>
                <a:lnTo>
                  <a:pt x="299" y="391"/>
                </a:lnTo>
                <a:lnTo>
                  <a:pt x="299" y="711"/>
                </a:lnTo>
                <a:lnTo>
                  <a:pt x="442" y="616"/>
                </a:lnTo>
                <a:lnTo>
                  <a:pt x="585" y="711"/>
                </a:lnTo>
                <a:lnTo>
                  <a:pt x="585" y="285"/>
                </a:lnTo>
                <a:cubicBezTo>
                  <a:pt x="621" y="255"/>
                  <a:pt x="621" y="219"/>
                  <a:pt x="621" y="179"/>
                </a:cubicBezTo>
                <a:cubicBezTo>
                  <a:pt x="621" y="80"/>
                  <a:pt x="540" y="0"/>
                  <a:pt x="442" y="0"/>
                </a:cubicBezTo>
                <a:close/>
                <a:moveTo>
                  <a:pt x="836" y="36"/>
                </a:moveTo>
                <a:cubicBezTo>
                  <a:pt x="778" y="46"/>
                  <a:pt x="720" y="54"/>
                  <a:pt x="662" y="60"/>
                </a:cubicBezTo>
                <a:cubicBezTo>
                  <a:pt x="674" y="82"/>
                  <a:pt x="683" y="105"/>
                  <a:pt x="687" y="130"/>
                </a:cubicBezTo>
                <a:cubicBezTo>
                  <a:pt x="721" y="126"/>
                  <a:pt x="756" y="121"/>
                  <a:pt x="789" y="116"/>
                </a:cubicBezTo>
                <a:cubicBezTo>
                  <a:pt x="804" y="169"/>
                  <a:pt x="804" y="224"/>
                  <a:pt x="789" y="277"/>
                </a:cubicBezTo>
                <a:cubicBezTo>
                  <a:pt x="752" y="271"/>
                  <a:pt x="715" y="266"/>
                  <a:pt x="678" y="262"/>
                </a:cubicBezTo>
                <a:cubicBezTo>
                  <a:pt x="669" y="287"/>
                  <a:pt x="656" y="310"/>
                  <a:pt x="641" y="330"/>
                </a:cubicBezTo>
                <a:cubicBezTo>
                  <a:pt x="706" y="336"/>
                  <a:pt x="771" y="346"/>
                  <a:pt x="836" y="358"/>
                </a:cubicBezTo>
                <a:cubicBezTo>
                  <a:pt x="883" y="258"/>
                  <a:pt x="884" y="138"/>
                  <a:pt x="836" y="36"/>
                </a:cubicBezTo>
                <a:close/>
                <a:moveTo>
                  <a:pt x="95" y="277"/>
                </a:moveTo>
                <a:cubicBezTo>
                  <a:pt x="81" y="225"/>
                  <a:pt x="81" y="170"/>
                  <a:pt x="95" y="116"/>
                </a:cubicBezTo>
                <a:cubicBezTo>
                  <a:pt x="129" y="122"/>
                  <a:pt x="162" y="126"/>
                  <a:pt x="196" y="130"/>
                </a:cubicBezTo>
                <a:cubicBezTo>
                  <a:pt x="201" y="105"/>
                  <a:pt x="209" y="82"/>
                  <a:pt x="221" y="60"/>
                </a:cubicBezTo>
                <a:cubicBezTo>
                  <a:pt x="163" y="54"/>
                  <a:pt x="105" y="46"/>
                  <a:pt x="48" y="35"/>
                </a:cubicBezTo>
                <a:cubicBezTo>
                  <a:pt x="3" y="140"/>
                  <a:pt x="0" y="255"/>
                  <a:pt x="48" y="358"/>
                </a:cubicBezTo>
                <a:cubicBezTo>
                  <a:pt x="112" y="346"/>
                  <a:pt x="178" y="337"/>
                  <a:pt x="243" y="331"/>
                </a:cubicBezTo>
                <a:cubicBezTo>
                  <a:pt x="227" y="310"/>
                  <a:pt x="215" y="287"/>
                  <a:pt x="206" y="263"/>
                </a:cubicBezTo>
                <a:cubicBezTo>
                  <a:pt x="169" y="267"/>
                  <a:pt x="132" y="271"/>
                  <a:pt x="95" y="27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3" name="Freeform 31"/>
          <p:cNvSpPr>
            <a:spLocks noEditPoints="1"/>
          </p:cNvSpPr>
          <p:nvPr/>
        </p:nvSpPr>
        <p:spPr bwMode="auto">
          <a:xfrm>
            <a:off x="5062984" y="3029721"/>
            <a:ext cx="591581" cy="567288"/>
          </a:xfrm>
          <a:custGeom>
            <a:avLst/>
            <a:gdLst>
              <a:gd name="T0" fmla="*/ 466 w 860"/>
              <a:gd name="T1" fmla="*/ 465 h 823"/>
              <a:gd name="T2" fmla="*/ 394 w 860"/>
              <a:gd name="T3" fmla="*/ 393 h 823"/>
              <a:gd name="T4" fmla="*/ 537 w 860"/>
              <a:gd name="T5" fmla="*/ 716 h 823"/>
              <a:gd name="T6" fmla="*/ 609 w 860"/>
              <a:gd name="T7" fmla="*/ 644 h 823"/>
              <a:gd name="T8" fmla="*/ 537 w 860"/>
              <a:gd name="T9" fmla="*/ 716 h 823"/>
              <a:gd name="T10" fmla="*/ 609 w 860"/>
              <a:gd name="T11" fmla="*/ 608 h 823"/>
              <a:gd name="T12" fmla="*/ 537 w 860"/>
              <a:gd name="T13" fmla="*/ 537 h 823"/>
              <a:gd name="T14" fmla="*/ 716 w 860"/>
              <a:gd name="T15" fmla="*/ 644 h 823"/>
              <a:gd name="T16" fmla="*/ 645 w 860"/>
              <a:gd name="T17" fmla="*/ 716 h 823"/>
              <a:gd name="T18" fmla="*/ 716 w 860"/>
              <a:gd name="T19" fmla="*/ 644 h 823"/>
              <a:gd name="T20" fmla="*/ 645 w 860"/>
              <a:gd name="T21" fmla="*/ 537 h 823"/>
              <a:gd name="T22" fmla="*/ 716 w 860"/>
              <a:gd name="T23" fmla="*/ 608 h 823"/>
              <a:gd name="T24" fmla="*/ 251 w 860"/>
              <a:gd name="T25" fmla="*/ 716 h 823"/>
              <a:gd name="T26" fmla="*/ 322 w 860"/>
              <a:gd name="T27" fmla="*/ 644 h 823"/>
              <a:gd name="T28" fmla="*/ 251 w 860"/>
              <a:gd name="T29" fmla="*/ 716 h 823"/>
              <a:gd name="T30" fmla="*/ 322 w 860"/>
              <a:gd name="T31" fmla="*/ 608 h 823"/>
              <a:gd name="T32" fmla="*/ 251 w 860"/>
              <a:gd name="T33" fmla="*/ 537 h 823"/>
              <a:gd name="T34" fmla="*/ 143 w 860"/>
              <a:gd name="T35" fmla="*/ 716 h 823"/>
              <a:gd name="T36" fmla="*/ 215 w 860"/>
              <a:gd name="T37" fmla="*/ 644 h 823"/>
              <a:gd name="T38" fmla="*/ 143 w 860"/>
              <a:gd name="T39" fmla="*/ 716 h 823"/>
              <a:gd name="T40" fmla="*/ 215 w 860"/>
              <a:gd name="T41" fmla="*/ 608 h 823"/>
              <a:gd name="T42" fmla="*/ 143 w 860"/>
              <a:gd name="T43" fmla="*/ 537 h 823"/>
              <a:gd name="T44" fmla="*/ 788 w 860"/>
              <a:gd name="T45" fmla="*/ 752 h 823"/>
              <a:gd name="T46" fmla="*/ 466 w 860"/>
              <a:gd name="T47" fmla="*/ 537 h 823"/>
              <a:gd name="T48" fmla="*/ 394 w 860"/>
              <a:gd name="T49" fmla="*/ 752 h 823"/>
              <a:gd name="T50" fmla="*/ 72 w 860"/>
              <a:gd name="T51" fmla="*/ 501 h 823"/>
              <a:gd name="T52" fmla="*/ 430 w 860"/>
              <a:gd name="T53" fmla="*/ 269 h 823"/>
              <a:gd name="T54" fmla="*/ 788 w 860"/>
              <a:gd name="T55" fmla="*/ 501 h 823"/>
              <a:gd name="T56" fmla="*/ 100 w 860"/>
              <a:gd name="T57" fmla="*/ 358 h 823"/>
              <a:gd name="T58" fmla="*/ 199 w 860"/>
              <a:gd name="T59" fmla="*/ 429 h 823"/>
              <a:gd name="T60" fmla="*/ 100 w 860"/>
              <a:gd name="T61" fmla="*/ 358 h 823"/>
              <a:gd name="T62" fmla="*/ 778 w 860"/>
              <a:gd name="T63" fmla="*/ 429 h 823"/>
              <a:gd name="T64" fmla="*/ 600 w 860"/>
              <a:gd name="T65" fmla="*/ 358 h 823"/>
              <a:gd name="T66" fmla="*/ 816 w 860"/>
              <a:gd name="T67" fmla="*/ 286 h 823"/>
              <a:gd name="T68" fmla="*/ 466 w 860"/>
              <a:gd name="T69" fmla="*/ 183 h 823"/>
              <a:gd name="T70" fmla="*/ 483 w 860"/>
              <a:gd name="T71" fmla="*/ 73 h 823"/>
              <a:gd name="T72" fmla="*/ 645 w 860"/>
              <a:gd name="T73" fmla="*/ 53 h 823"/>
              <a:gd name="T74" fmla="*/ 430 w 860"/>
              <a:gd name="T75" fmla="*/ 0 h 823"/>
              <a:gd name="T76" fmla="*/ 394 w 860"/>
              <a:gd name="T77" fmla="*/ 183 h 823"/>
              <a:gd name="T78" fmla="*/ 44 w 860"/>
              <a:gd name="T79" fmla="*/ 286 h 823"/>
              <a:gd name="T80" fmla="*/ 0 w 860"/>
              <a:gd name="T81" fmla="*/ 823 h 823"/>
              <a:gd name="T82" fmla="*/ 860 w 860"/>
              <a:gd name="T83" fmla="*/ 448 h 8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860" h="823">
                <a:moveTo>
                  <a:pt x="394" y="465"/>
                </a:moveTo>
                <a:lnTo>
                  <a:pt x="466" y="465"/>
                </a:lnTo>
                <a:lnTo>
                  <a:pt x="466" y="393"/>
                </a:lnTo>
                <a:lnTo>
                  <a:pt x="394" y="393"/>
                </a:lnTo>
                <a:lnTo>
                  <a:pt x="394" y="465"/>
                </a:lnTo>
                <a:close/>
                <a:moveTo>
                  <a:pt x="537" y="716"/>
                </a:moveTo>
                <a:lnTo>
                  <a:pt x="609" y="716"/>
                </a:lnTo>
                <a:lnTo>
                  <a:pt x="609" y="644"/>
                </a:lnTo>
                <a:lnTo>
                  <a:pt x="537" y="644"/>
                </a:lnTo>
                <a:lnTo>
                  <a:pt x="537" y="716"/>
                </a:lnTo>
                <a:close/>
                <a:moveTo>
                  <a:pt x="537" y="608"/>
                </a:moveTo>
                <a:lnTo>
                  <a:pt x="609" y="608"/>
                </a:lnTo>
                <a:lnTo>
                  <a:pt x="609" y="537"/>
                </a:lnTo>
                <a:lnTo>
                  <a:pt x="537" y="537"/>
                </a:lnTo>
                <a:lnTo>
                  <a:pt x="537" y="608"/>
                </a:lnTo>
                <a:close/>
                <a:moveTo>
                  <a:pt x="716" y="644"/>
                </a:moveTo>
                <a:lnTo>
                  <a:pt x="645" y="644"/>
                </a:lnTo>
                <a:lnTo>
                  <a:pt x="645" y="716"/>
                </a:lnTo>
                <a:lnTo>
                  <a:pt x="716" y="716"/>
                </a:lnTo>
                <a:lnTo>
                  <a:pt x="716" y="644"/>
                </a:lnTo>
                <a:close/>
                <a:moveTo>
                  <a:pt x="716" y="537"/>
                </a:moveTo>
                <a:lnTo>
                  <a:pt x="645" y="537"/>
                </a:lnTo>
                <a:lnTo>
                  <a:pt x="645" y="608"/>
                </a:lnTo>
                <a:lnTo>
                  <a:pt x="716" y="608"/>
                </a:lnTo>
                <a:lnTo>
                  <a:pt x="716" y="537"/>
                </a:lnTo>
                <a:close/>
                <a:moveTo>
                  <a:pt x="251" y="716"/>
                </a:moveTo>
                <a:lnTo>
                  <a:pt x="322" y="716"/>
                </a:lnTo>
                <a:lnTo>
                  <a:pt x="322" y="644"/>
                </a:lnTo>
                <a:lnTo>
                  <a:pt x="251" y="644"/>
                </a:lnTo>
                <a:lnTo>
                  <a:pt x="251" y="716"/>
                </a:lnTo>
                <a:close/>
                <a:moveTo>
                  <a:pt x="251" y="608"/>
                </a:moveTo>
                <a:lnTo>
                  <a:pt x="322" y="608"/>
                </a:lnTo>
                <a:lnTo>
                  <a:pt x="322" y="537"/>
                </a:lnTo>
                <a:lnTo>
                  <a:pt x="251" y="537"/>
                </a:lnTo>
                <a:lnTo>
                  <a:pt x="251" y="608"/>
                </a:lnTo>
                <a:close/>
                <a:moveTo>
                  <a:pt x="143" y="716"/>
                </a:moveTo>
                <a:lnTo>
                  <a:pt x="215" y="716"/>
                </a:lnTo>
                <a:lnTo>
                  <a:pt x="215" y="644"/>
                </a:lnTo>
                <a:lnTo>
                  <a:pt x="143" y="644"/>
                </a:lnTo>
                <a:lnTo>
                  <a:pt x="143" y="716"/>
                </a:lnTo>
                <a:close/>
                <a:moveTo>
                  <a:pt x="143" y="608"/>
                </a:moveTo>
                <a:lnTo>
                  <a:pt x="215" y="608"/>
                </a:lnTo>
                <a:lnTo>
                  <a:pt x="215" y="537"/>
                </a:lnTo>
                <a:lnTo>
                  <a:pt x="143" y="537"/>
                </a:lnTo>
                <a:lnTo>
                  <a:pt x="143" y="608"/>
                </a:lnTo>
                <a:close/>
                <a:moveTo>
                  <a:pt x="788" y="752"/>
                </a:moveTo>
                <a:lnTo>
                  <a:pt x="466" y="752"/>
                </a:lnTo>
                <a:lnTo>
                  <a:pt x="466" y="537"/>
                </a:lnTo>
                <a:lnTo>
                  <a:pt x="394" y="537"/>
                </a:lnTo>
                <a:lnTo>
                  <a:pt x="394" y="752"/>
                </a:lnTo>
                <a:lnTo>
                  <a:pt x="72" y="752"/>
                </a:lnTo>
                <a:lnTo>
                  <a:pt x="72" y="501"/>
                </a:lnTo>
                <a:lnTo>
                  <a:pt x="232" y="501"/>
                </a:lnTo>
                <a:lnTo>
                  <a:pt x="430" y="269"/>
                </a:lnTo>
                <a:lnTo>
                  <a:pt x="628" y="501"/>
                </a:lnTo>
                <a:lnTo>
                  <a:pt x="788" y="501"/>
                </a:lnTo>
                <a:lnTo>
                  <a:pt x="788" y="752"/>
                </a:lnTo>
                <a:close/>
                <a:moveTo>
                  <a:pt x="100" y="358"/>
                </a:moveTo>
                <a:lnTo>
                  <a:pt x="260" y="358"/>
                </a:lnTo>
                <a:lnTo>
                  <a:pt x="199" y="429"/>
                </a:lnTo>
                <a:lnTo>
                  <a:pt x="82" y="429"/>
                </a:lnTo>
                <a:lnTo>
                  <a:pt x="100" y="358"/>
                </a:lnTo>
                <a:close/>
                <a:moveTo>
                  <a:pt x="760" y="358"/>
                </a:moveTo>
                <a:lnTo>
                  <a:pt x="778" y="429"/>
                </a:lnTo>
                <a:lnTo>
                  <a:pt x="661" y="429"/>
                </a:lnTo>
                <a:lnTo>
                  <a:pt x="600" y="358"/>
                </a:lnTo>
                <a:lnTo>
                  <a:pt x="760" y="358"/>
                </a:lnTo>
                <a:close/>
                <a:moveTo>
                  <a:pt x="816" y="286"/>
                </a:moveTo>
                <a:lnTo>
                  <a:pt x="539" y="286"/>
                </a:lnTo>
                <a:lnTo>
                  <a:pt x="466" y="183"/>
                </a:lnTo>
                <a:lnTo>
                  <a:pt x="466" y="59"/>
                </a:lnTo>
                <a:cubicBezTo>
                  <a:pt x="466" y="62"/>
                  <a:pt x="477" y="67"/>
                  <a:pt x="483" y="73"/>
                </a:cubicBezTo>
                <a:cubicBezTo>
                  <a:pt x="512" y="101"/>
                  <a:pt x="537" y="125"/>
                  <a:pt x="645" y="125"/>
                </a:cubicBezTo>
                <a:lnTo>
                  <a:pt x="645" y="53"/>
                </a:lnTo>
                <a:cubicBezTo>
                  <a:pt x="573" y="53"/>
                  <a:pt x="550" y="47"/>
                  <a:pt x="533" y="31"/>
                </a:cubicBezTo>
                <a:cubicBezTo>
                  <a:pt x="511" y="9"/>
                  <a:pt x="488" y="0"/>
                  <a:pt x="430" y="0"/>
                </a:cubicBezTo>
                <a:lnTo>
                  <a:pt x="394" y="0"/>
                </a:lnTo>
                <a:lnTo>
                  <a:pt x="394" y="183"/>
                </a:lnTo>
                <a:lnTo>
                  <a:pt x="322" y="286"/>
                </a:lnTo>
                <a:lnTo>
                  <a:pt x="44" y="286"/>
                </a:lnTo>
                <a:lnTo>
                  <a:pt x="1" y="458"/>
                </a:lnTo>
                <a:lnTo>
                  <a:pt x="0" y="823"/>
                </a:lnTo>
                <a:lnTo>
                  <a:pt x="860" y="823"/>
                </a:lnTo>
                <a:lnTo>
                  <a:pt x="860" y="448"/>
                </a:lnTo>
                <a:lnTo>
                  <a:pt x="816" y="28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5" name="Freeform 33"/>
          <p:cNvSpPr>
            <a:spLocks noEditPoints="1"/>
          </p:cNvSpPr>
          <p:nvPr/>
        </p:nvSpPr>
        <p:spPr bwMode="auto">
          <a:xfrm>
            <a:off x="8017892" y="3077747"/>
            <a:ext cx="591581" cy="543275"/>
          </a:xfrm>
          <a:custGeom>
            <a:avLst/>
            <a:gdLst>
              <a:gd name="T0" fmla="*/ 143 w 859"/>
              <a:gd name="T1" fmla="*/ 645 h 788"/>
              <a:gd name="T2" fmla="*/ 143 w 859"/>
              <a:gd name="T3" fmla="*/ 430 h 788"/>
              <a:gd name="T4" fmla="*/ 716 w 859"/>
              <a:gd name="T5" fmla="*/ 430 h 788"/>
              <a:gd name="T6" fmla="*/ 716 w 859"/>
              <a:gd name="T7" fmla="*/ 645 h 788"/>
              <a:gd name="T8" fmla="*/ 143 w 859"/>
              <a:gd name="T9" fmla="*/ 645 h 788"/>
              <a:gd name="T10" fmla="*/ 179 w 859"/>
              <a:gd name="T11" fmla="*/ 72 h 788"/>
              <a:gd name="T12" fmla="*/ 680 w 859"/>
              <a:gd name="T13" fmla="*/ 72 h 788"/>
              <a:gd name="T14" fmla="*/ 716 w 859"/>
              <a:gd name="T15" fmla="*/ 108 h 788"/>
              <a:gd name="T16" fmla="*/ 716 w 859"/>
              <a:gd name="T17" fmla="*/ 358 h 788"/>
              <a:gd name="T18" fmla="*/ 465 w 859"/>
              <a:gd name="T19" fmla="*/ 358 h 788"/>
              <a:gd name="T20" fmla="*/ 465 w 859"/>
              <a:gd name="T21" fmla="*/ 108 h 788"/>
              <a:gd name="T22" fmla="*/ 393 w 859"/>
              <a:gd name="T23" fmla="*/ 108 h 788"/>
              <a:gd name="T24" fmla="*/ 393 w 859"/>
              <a:gd name="T25" fmla="*/ 358 h 788"/>
              <a:gd name="T26" fmla="*/ 143 w 859"/>
              <a:gd name="T27" fmla="*/ 358 h 788"/>
              <a:gd name="T28" fmla="*/ 143 w 859"/>
              <a:gd name="T29" fmla="*/ 108 h 788"/>
              <a:gd name="T30" fmla="*/ 179 w 859"/>
              <a:gd name="T31" fmla="*/ 72 h 788"/>
              <a:gd name="T32" fmla="*/ 787 w 859"/>
              <a:gd name="T33" fmla="*/ 179 h 788"/>
              <a:gd name="T34" fmla="*/ 787 w 859"/>
              <a:gd name="T35" fmla="*/ 108 h 788"/>
              <a:gd name="T36" fmla="*/ 680 w 859"/>
              <a:gd name="T37" fmla="*/ 0 h 788"/>
              <a:gd name="T38" fmla="*/ 179 w 859"/>
              <a:gd name="T39" fmla="*/ 0 h 788"/>
              <a:gd name="T40" fmla="*/ 71 w 859"/>
              <a:gd name="T41" fmla="*/ 108 h 788"/>
              <a:gd name="T42" fmla="*/ 71 w 859"/>
              <a:gd name="T43" fmla="*/ 179 h 788"/>
              <a:gd name="T44" fmla="*/ 0 w 859"/>
              <a:gd name="T45" fmla="*/ 179 h 788"/>
              <a:gd name="T46" fmla="*/ 0 w 859"/>
              <a:gd name="T47" fmla="*/ 358 h 788"/>
              <a:gd name="T48" fmla="*/ 71 w 859"/>
              <a:gd name="T49" fmla="*/ 358 h 788"/>
              <a:gd name="T50" fmla="*/ 71 w 859"/>
              <a:gd name="T51" fmla="*/ 716 h 788"/>
              <a:gd name="T52" fmla="*/ 143 w 859"/>
              <a:gd name="T53" fmla="*/ 716 h 788"/>
              <a:gd name="T54" fmla="*/ 143 w 859"/>
              <a:gd name="T55" fmla="*/ 788 h 788"/>
              <a:gd name="T56" fmla="*/ 214 w 859"/>
              <a:gd name="T57" fmla="*/ 788 h 788"/>
              <a:gd name="T58" fmla="*/ 214 w 859"/>
              <a:gd name="T59" fmla="*/ 716 h 788"/>
              <a:gd name="T60" fmla="*/ 644 w 859"/>
              <a:gd name="T61" fmla="*/ 716 h 788"/>
              <a:gd name="T62" fmla="*/ 644 w 859"/>
              <a:gd name="T63" fmla="*/ 788 h 788"/>
              <a:gd name="T64" fmla="*/ 716 w 859"/>
              <a:gd name="T65" fmla="*/ 788 h 788"/>
              <a:gd name="T66" fmla="*/ 716 w 859"/>
              <a:gd name="T67" fmla="*/ 716 h 788"/>
              <a:gd name="T68" fmla="*/ 787 w 859"/>
              <a:gd name="T69" fmla="*/ 716 h 788"/>
              <a:gd name="T70" fmla="*/ 787 w 859"/>
              <a:gd name="T71" fmla="*/ 358 h 788"/>
              <a:gd name="T72" fmla="*/ 859 w 859"/>
              <a:gd name="T73" fmla="*/ 358 h 788"/>
              <a:gd name="T74" fmla="*/ 859 w 859"/>
              <a:gd name="T75" fmla="*/ 179 h 788"/>
              <a:gd name="T76" fmla="*/ 787 w 859"/>
              <a:gd name="T77" fmla="*/ 179 h 7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859" h="788">
                <a:moveTo>
                  <a:pt x="143" y="645"/>
                </a:moveTo>
                <a:lnTo>
                  <a:pt x="143" y="430"/>
                </a:lnTo>
                <a:lnTo>
                  <a:pt x="716" y="430"/>
                </a:lnTo>
                <a:lnTo>
                  <a:pt x="716" y="645"/>
                </a:lnTo>
                <a:lnTo>
                  <a:pt x="143" y="645"/>
                </a:lnTo>
                <a:close/>
                <a:moveTo>
                  <a:pt x="179" y="72"/>
                </a:moveTo>
                <a:lnTo>
                  <a:pt x="680" y="72"/>
                </a:lnTo>
                <a:cubicBezTo>
                  <a:pt x="700" y="72"/>
                  <a:pt x="716" y="88"/>
                  <a:pt x="716" y="108"/>
                </a:cubicBezTo>
                <a:lnTo>
                  <a:pt x="716" y="358"/>
                </a:lnTo>
                <a:lnTo>
                  <a:pt x="465" y="358"/>
                </a:lnTo>
                <a:lnTo>
                  <a:pt x="465" y="108"/>
                </a:lnTo>
                <a:lnTo>
                  <a:pt x="393" y="108"/>
                </a:lnTo>
                <a:lnTo>
                  <a:pt x="393" y="358"/>
                </a:lnTo>
                <a:lnTo>
                  <a:pt x="143" y="358"/>
                </a:lnTo>
                <a:lnTo>
                  <a:pt x="143" y="108"/>
                </a:lnTo>
                <a:cubicBezTo>
                  <a:pt x="143" y="88"/>
                  <a:pt x="159" y="72"/>
                  <a:pt x="179" y="72"/>
                </a:cubicBezTo>
                <a:close/>
                <a:moveTo>
                  <a:pt x="787" y="179"/>
                </a:moveTo>
                <a:lnTo>
                  <a:pt x="787" y="108"/>
                </a:lnTo>
                <a:cubicBezTo>
                  <a:pt x="787" y="48"/>
                  <a:pt x="739" y="0"/>
                  <a:pt x="680" y="0"/>
                </a:cubicBezTo>
                <a:lnTo>
                  <a:pt x="179" y="0"/>
                </a:lnTo>
                <a:cubicBezTo>
                  <a:pt x="120" y="0"/>
                  <a:pt x="71" y="48"/>
                  <a:pt x="71" y="108"/>
                </a:cubicBezTo>
                <a:lnTo>
                  <a:pt x="71" y="179"/>
                </a:lnTo>
                <a:lnTo>
                  <a:pt x="0" y="179"/>
                </a:lnTo>
                <a:lnTo>
                  <a:pt x="0" y="358"/>
                </a:lnTo>
                <a:lnTo>
                  <a:pt x="71" y="358"/>
                </a:lnTo>
                <a:lnTo>
                  <a:pt x="71" y="716"/>
                </a:lnTo>
                <a:lnTo>
                  <a:pt x="143" y="716"/>
                </a:lnTo>
                <a:lnTo>
                  <a:pt x="143" y="788"/>
                </a:lnTo>
                <a:lnTo>
                  <a:pt x="214" y="788"/>
                </a:lnTo>
                <a:lnTo>
                  <a:pt x="214" y="716"/>
                </a:lnTo>
                <a:lnTo>
                  <a:pt x="644" y="716"/>
                </a:lnTo>
                <a:lnTo>
                  <a:pt x="644" y="788"/>
                </a:lnTo>
                <a:lnTo>
                  <a:pt x="716" y="788"/>
                </a:lnTo>
                <a:lnTo>
                  <a:pt x="716" y="716"/>
                </a:lnTo>
                <a:lnTo>
                  <a:pt x="787" y="716"/>
                </a:lnTo>
                <a:lnTo>
                  <a:pt x="787" y="358"/>
                </a:lnTo>
                <a:lnTo>
                  <a:pt x="859" y="358"/>
                </a:lnTo>
                <a:lnTo>
                  <a:pt x="859" y="179"/>
                </a:lnTo>
                <a:lnTo>
                  <a:pt x="787" y="17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6" name="Rectangle 34"/>
          <p:cNvSpPr>
            <a:spLocks noChangeArrowheads="1"/>
          </p:cNvSpPr>
          <p:nvPr/>
        </p:nvSpPr>
        <p:spPr bwMode="auto">
          <a:xfrm>
            <a:off x="8141012" y="3429000"/>
            <a:ext cx="123120" cy="5102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7" name="Rectangle 35"/>
          <p:cNvSpPr>
            <a:spLocks noChangeArrowheads="1"/>
          </p:cNvSpPr>
          <p:nvPr/>
        </p:nvSpPr>
        <p:spPr bwMode="auto">
          <a:xfrm>
            <a:off x="8363231" y="3429000"/>
            <a:ext cx="123120" cy="5102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8" name="Rectangle 36"/>
          <p:cNvSpPr>
            <a:spLocks noChangeArrowheads="1"/>
          </p:cNvSpPr>
          <p:nvPr/>
        </p:nvSpPr>
        <p:spPr bwMode="auto">
          <a:xfrm>
            <a:off x="2279241" y="647860"/>
            <a:ext cx="246243" cy="480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9" name="Freeform 37"/>
          <p:cNvSpPr>
            <a:spLocks noEditPoints="1"/>
          </p:cNvSpPr>
          <p:nvPr/>
        </p:nvSpPr>
        <p:spPr bwMode="auto">
          <a:xfrm>
            <a:off x="2177142" y="560563"/>
            <a:ext cx="447441" cy="519263"/>
          </a:xfrm>
          <a:custGeom>
            <a:avLst/>
            <a:gdLst>
              <a:gd name="T0" fmla="*/ 212 w 651"/>
              <a:gd name="T1" fmla="*/ 446 h 752"/>
              <a:gd name="T2" fmla="*/ 281 w 651"/>
              <a:gd name="T3" fmla="*/ 680 h 752"/>
              <a:gd name="T4" fmla="*/ 290 w 651"/>
              <a:gd name="T5" fmla="*/ 680 h 752"/>
              <a:gd name="T6" fmla="*/ 290 w 651"/>
              <a:gd name="T7" fmla="*/ 348 h 752"/>
              <a:gd name="T8" fmla="*/ 254 w 651"/>
              <a:gd name="T9" fmla="*/ 286 h 752"/>
              <a:gd name="T10" fmla="*/ 326 w 651"/>
              <a:gd name="T11" fmla="*/ 215 h 752"/>
              <a:gd name="T12" fmla="*/ 397 w 651"/>
              <a:gd name="T13" fmla="*/ 286 h 752"/>
              <a:gd name="T14" fmla="*/ 362 w 651"/>
              <a:gd name="T15" fmla="*/ 348 h 752"/>
              <a:gd name="T16" fmla="*/ 362 w 651"/>
              <a:gd name="T17" fmla="*/ 680 h 752"/>
              <a:gd name="T18" fmla="*/ 370 w 651"/>
              <a:gd name="T19" fmla="*/ 680 h 752"/>
              <a:gd name="T20" fmla="*/ 435 w 651"/>
              <a:gd name="T21" fmla="*/ 456 h 752"/>
              <a:gd name="T22" fmla="*/ 573 w 651"/>
              <a:gd name="T23" fmla="*/ 245 h 752"/>
              <a:gd name="T24" fmla="*/ 326 w 651"/>
              <a:gd name="T25" fmla="*/ 72 h 752"/>
              <a:gd name="T26" fmla="*/ 79 w 651"/>
              <a:gd name="T27" fmla="*/ 245 h 752"/>
              <a:gd name="T28" fmla="*/ 212 w 651"/>
              <a:gd name="T29" fmla="*/ 446 h 752"/>
              <a:gd name="T30" fmla="*/ 5 w 651"/>
              <a:gd name="T31" fmla="*/ 241 h 752"/>
              <a:gd name="T32" fmla="*/ 326 w 651"/>
              <a:gd name="T33" fmla="*/ 0 h 752"/>
              <a:gd name="T34" fmla="*/ 647 w 651"/>
              <a:gd name="T35" fmla="*/ 241 h 752"/>
              <a:gd name="T36" fmla="*/ 651 w 651"/>
              <a:gd name="T37" fmla="*/ 257 h 752"/>
              <a:gd name="T38" fmla="*/ 502 w 651"/>
              <a:gd name="T39" fmla="*/ 481 h 752"/>
              <a:gd name="T40" fmla="*/ 424 w 651"/>
              <a:gd name="T41" fmla="*/ 752 h 752"/>
              <a:gd name="T42" fmla="*/ 227 w 651"/>
              <a:gd name="T43" fmla="*/ 752 h 752"/>
              <a:gd name="T44" fmla="*/ 150 w 651"/>
              <a:gd name="T45" fmla="*/ 481 h 752"/>
              <a:gd name="T46" fmla="*/ 0 w 651"/>
              <a:gd name="T47" fmla="*/ 257 h 752"/>
              <a:gd name="T48" fmla="*/ 5 w 651"/>
              <a:gd name="T49" fmla="*/ 24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651" h="752">
                <a:moveTo>
                  <a:pt x="212" y="446"/>
                </a:moveTo>
                <a:lnTo>
                  <a:pt x="281" y="680"/>
                </a:lnTo>
                <a:lnTo>
                  <a:pt x="290" y="680"/>
                </a:lnTo>
                <a:lnTo>
                  <a:pt x="290" y="348"/>
                </a:lnTo>
                <a:cubicBezTo>
                  <a:pt x="254" y="336"/>
                  <a:pt x="254" y="313"/>
                  <a:pt x="254" y="286"/>
                </a:cubicBezTo>
                <a:cubicBezTo>
                  <a:pt x="254" y="247"/>
                  <a:pt x="286" y="215"/>
                  <a:pt x="326" y="215"/>
                </a:cubicBezTo>
                <a:cubicBezTo>
                  <a:pt x="365" y="215"/>
                  <a:pt x="397" y="247"/>
                  <a:pt x="397" y="286"/>
                </a:cubicBezTo>
                <a:cubicBezTo>
                  <a:pt x="397" y="313"/>
                  <a:pt x="398" y="336"/>
                  <a:pt x="362" y="348"/>
                </a:cubicBezTo>
                <a:lnTo>
                  <a:pt x="362" y="680"/>
                </a:lnTo>
                <a:lnTo>
                  <a:pt x="370" y="680"/>
                </a:lnTo>
                <a:lnTo>
                  <a:pt x="435" y="456"/>
                </a:lnTo>
                <a:lnTo>
                  <a:pt x="573" y="245"/>
                </a:lnTo>
                <a:cubicBezTo>
                  <a:pt x="536" y="142"/>
                  <a:pt x="436" y="72"/>
                  <a:pt x="326" y="72"/>
                </a:cubicBezTo>
                <a:cubicBezTo>
                  <a:pt x="215" y="72"/>
                  <a:pt x="116" y="142"/>
                  <a:pt x="79" y="245"/>
                </a:cubicBezTo>
                <a:lnTo>
                  <a:pt x="212" y="446"/>
                </a:lnTo>
                <a:close/>
                <a:moveTo>
                  <a:pt x="5" y="241"/>
                </a:moveTo>
                <a:cubicBezTo>
                  <a:pt x="46" y="99"/>
                  <a:pt x="178" y="0"/>
                  <a:pt x="326" y="0"/>
                </a:cubicBezTo>
                <a:cubicBezTo>
                  <a:pt x="473" y="0"/>
                  <a:pt x="605" y="99"/>
                  <a:pt x="647" y="241"/>
                </a:cubicBezTo>
                <a:lnTo>
                  <a:pt x="651" y="257"/>
                </a:lnTo>
                <a:lnTo>
                  <a:pt x="502" y="481"/>
                </a:lnTo>
                <a:lnTo>
                  <a:pt x="424" y="752"/>
                </a:lnTo>
                <a:lnTo>
                  <a:pt x="227" y="752"/>
                </a:lnTo>
                <a:lnTo>
                  <a:pt x="150" y="481"/>
                </a:lnTo>
                <a:lnTo>
                  <a:pt x="0" y="257"/>
                </a:lnTo>
                <a:lnTo>
                  <a:pt x="5" y="24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2" name="Freeform 40"/>
          <p:cNvSpPr>
            <a:spLocks noEditPoints="1"/>
          </p:cNvSpPr>
          <p:nvPr/>
        </p:nvSpPr>
        <p:spPr bwMode="auto">
          <a:xfrm>
            <a:off x="3585527" y="1831707"/>
            <a:ext cx="588580" cy="492248"/>
          </a:xfrm>
          <a:custGeom>
            <a:avLst/>
            <a:gdLst>
              <a:gd name="T0" fmla="*/ 716 w 859"/>
              <a:gd name="T1" fmla="*/ 0 h 716"/>
              <a:gd name="T2" fmla="*/ 143 w 859"/>
              <a:gd name="T3" fmla="*/ 0 h 716"/>
              <a:gd name="T4" fmla="*/ 0 w 859"/>
              <a:gd name="T5" fmla="*/ 143 h 716"/>
              <a:gd name="T6" fmla="*/ 143 w 859"/>
              <a:gd name="T7" fmla="*/ 286 h 716"/>
              <a:gd name="T8" fmla="*/ 286 w 859"/>
              <a:gd name="T9" fmla="*/ 143 h 716"/>
              <a:gd name="T10" fmla="*/ 215 w 859"/>
              <a:gd name="T11" fmla="*/ 143 h 716"/>
              <a:gd name="T12" fmla="*/ 143 w 859"/>
              <a:gd name="T13" fmla="*/ 215 h 716"/>
              <a:gd name="T14" fmla="*/ 72 w 859"/>
              <a:gd name="T15" fmla="*/ 143 h 716"/>
              <a:gd name="T16" fmla="*/ 143 w 859"/>
              <a:gd name="T17" fmla="*/ 72 h 716"/>
              <a:gd name="T18" fmla="*/ 716 w 859"/>
              <a:gd name="T19" fmla="*/ 72 h 716"/>
              <a:gd name="T20" fmla="*/ 788 w 859"/>
              <a:gd name="T21" fmla="*/ 143 h 716"/>
              <a:gd name="T22" fmla="*/ 716 w 859"/>
              <a:gd name="T23" fmla="*/ 215 h 716"/>
              <a:gd name="T24" fmla="*/ 645 w 859"/>
              <a:gd name="T25" fmla="*/ 143 h 716"/>
              <a:gd name="T26" fmla="*/ 573 w 859"/>
              <a:gd name="T27" fmla="*/ 143 h 716"/>
              <a:gd name="T28" fmla="*/ 716 w 859"/>
              <a:gd name="T29" fmla="*/ 286 h 716"/>
              <a:gd name="T30" fmla="*/ 859 w 859"/>
              <a:gd name="T31" fmla="*/ 143 h 716"/>
              <a:gd name="T32" fmla="*/ 716 w 859"/>
              <a:gd name="T33" fmla="*/ 0 h 716"/>
              <a:gd name="T34" fmla="*/ 394 w 859"/>
              <a:gd name="T35" fmla="*/ 143 h 716"/>
              <a:gd name="T36" fmla="*/ 394 w 859"/>
              <a:gd name="T37" fmla="*/ 573 h 716"/>
              <a:gd name="T38" fmla="*/ 465 w 859"/>
              <a:gd name="T39" fmla="*/ 573 h 716"/>
              <a:gd name="T40" fmla="*/ 465 w 859"/>
              <a:gd name="T41" fmla="*/ 143 h 716"/>
              <a:gd name="T42" fmla="*/ 394 w 859"/>
              <a:gd name="T43" fmla="*/ 143 h 716"/>
              <a:gd name="T44" fmla="*/ 537 w 859"/>
              <a:gd name="T45" fmla="*/ 262 h 716"/>
              <a:gd name="T46" fmla="*/ 537 w 859"/>
              <a:gd name="T47" fmla="*/ 573 h 716"/>
              <a:gd name="T48" fmla="*/ 609 w 859"/>
              <a:gd name="T49" fmla="*/ 573 h 716"/>
              <a:gd name="T50" fmla="*/ 609 w 859"/>
              <a:gd name="T51" fmla="*/ 329 h 716"/>
              <a:gd name="T52" fmla="*/ 537 w 859"/>
              <a:gd name="T53" fmla="*/ 262 h 716"/>
              <a:gd name="T54" fmla="*/ 250 w 859"/>
              <a:gd name="T55" fmla="*/ 329 h 716"/>
              <a:gd name="T56" fmla="*/ 250 w 859"/>
              <a:gd name="T57" fmla="*/ 573 h 716"/>
              <a:gd name="T58" fmla="*/ 322 w 859"/>
              <a:gd name="T59" fmla="*/ 573 h 716"/>
              <a:gd name="T60" fmla="*/ 322 w 859"/>
              <a:gd name="T61" fmla="*/ 262 h 716"/>
              <a:gd name="T62" fmla="*/ 250 w 859"/>
              <a:gd name="T63" fmla="*/ 329 h 716"/>
              <a:gd name="T64" fmla="*/ 143 w 859"/>
              <a:gd name="T65" fmla="*/ 716 h 716"/>
              <a:gd name="T66" fmla="*/ 716 w 859"/>
              <a:gd name="T67" fmla="*/ 716 h 716"/>
              <a:gd name="T68" fmla="*/ 716 w 859"/>
              <a:gd name="T69" fmla="*/ 645 h 716"/>
              <a:gd name="T70" fmla="*/ 143 w 859"/>
              <a:gd name="T71" fmla="*/ 645 h 716"/>
              <a:gd name="T72" fmla="*/ 143 w 859"/>
              <a:gd name="T73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59" h="716">
                <a:moveTo>
                  <a:pt x="716" y="0"/>
                </a:moveTo>
                <a:lnTo>
                  <a:pt x="143" y="0"/>
                </a:lnTo>
                <a:cubicBezTo>
                  <a:pt x="64" y="0"/>
                  <a:pt x="0" y="64"/>
                  <a:pt x="0" y="143"/>
                </a:cubicBezTo>
                <a:cubicBezTo>
                  <a:pt x="0" y="222"/>
                  <a:pt x="64" y="286"/>
                  <a:pt x="143" y="286"/>
                </a:cubicBezTo>
                <a:cubicBezTo>
                  <a:pt x="222" y="286"/>
                  <a:pt x="286" y="215"/>
                  <a:pt x="286" y="143"/>
                </a:cubicBezTo>
                <a:lnTo>
                  <a:pt x="215" y="143"/>
                </a:lnTo>
                <a:cubicBezTo>
                  <a:pt x="215" y="179"/>
                  <a:pt x="183" y="215"/>
                  <a:pt x="143" y="215"/>
                </a:cubicBezTo>
                <a:cubicBezTo>
                  <a:pt x="104" y="215"/>
                  <a:pt x="72" y="183"/>
                  <a:pt x="72" y="143"/>
                </a:cubicBezTo>
                <a:cubicBezTo>
                  <a:pt x="72" y="104"/>
                  <a:pt x="104" y="72"/>
                  <a:pt x="143" y="72"/>
                </a:cubicBezTo>
                <a:lnTo>
                  <a:pt x="716" y="72"/>
                </a:lnTo>
                <a:cubicBezTo>
                  <a:pt x="756" y="72"/>
                  <a:pt x="788" y="104"/>
                  <a:pt x="788" y="143"/>
                </a:cubicBezTo>
                <a:cubicBezTo>
                  <a:pt x="788" y="183"/>
                  <a:pt x="756" y="215"/>
                  <a:pt x="716" y="215"/>
                </a:cubicBezTo>
                <a:cubicBezTo>
                  <a:pt x="677" y="215"/>
                  <a:pt x="645" y="179"/>
                  <a:pt x="645" y="143"/>
                </a:cubicBezTo>
                <a:lnTo>
                  <a:pt x="573" y="143"/>
                </a:lnTo>
                <a:cubicBezTo>
                  <a:pt x="573" y="215"/>
                  <a:pt x="637" y="286"/>
                  <a:pt x="716" y="286"/>
                </a:cubicBezTo>
                <a:cubicBezTo>
                  <a:pt x="795" y="286"/>
                  <a:pt x="859" y="222"/>
                  <a:pt x="859" y="143"/>
                </a:cubicBezTo>
                <a:cubicBezTo>
                  <a:pt x="859" y="64"/>
                  <a:pt x="795" y="0"/>
                  <a:pt x="716" y="0"/>
                </a:cubicBezTo>
                <a:close/>
                <a:moveTo>
                  <a:pt x="394" y="143"/>
                </a:moveTo>
                <a:lnTo>
                  <a:pt x="394" y="573"/>
                </a:lnTo>
                <a:lnTo>
                  <a:pt x="465" y="573"/>
                </a:lnTo>
                <a:lnTo>
                  <a:pt x="465" y="143"/>
                </a:lnTo>
                <a:lnTo>
                  <a:pt x="394" y="143"/>
                </a:lnTo>
                <a:close/>
                <a:moveTo>
                  <a:pt x="537" y="262"/>
                </a:moveTo>
                <a:lnTo>
                  <a:pt x="537" y="573"/>
                </a:lnTo>
                <a:lnTo>
                  <a:pt x="609" y="573"/>
                </a:lnTo>
                <a:lnTo>
                  <a:pt x="609" y="329"/>
                </a:lnTo>
                <a:cubicBezTo>
                  <a:pt x="573" y="312"/>
                  <a:pt x="573" y="289"/>
                  <a:pt x="537" y="262"/>
                </a:cubicBezTo>
                <a:close/>
                <a:moveTo>
                  <a:pt x="250" y="329"/>
                </a:moveTo>
                <a:lnTo>
                  <a:pt x="250" y="573"/>
                </a:lnTo>
                <a:lnTo>
                  <a:pt x="322" y="573"/>
                </a:lnTo>
                <a:lnTo>
                  <a:pt x="322" y="262"/>
                </a:lnTo>
                <a:cubicBezTo>
                  <a:pt x="286" y="289"/>
                  <a:pt x="286" y="312"/>
                  <a:pt x="250" y="329"/>
                </a:cubicBezTo>
                <a:close/>
                <a:moveTo>
                  <a:pt x="143" y="716"/>
                </a:moveTo>
                <a:lnTo>
                  <a:pt x="716" y="716"/>
                </a:lnTo>
                <a:lnTo>
                  <a:pt x="716" y="645"/>
                </a:lnTo>
                <a:lnTo>
                  <a:pt x="143" y="645"/>
                </a:lnTo>
                <a:lnTo>
                  <a:pt x="143" y="7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6" name="Freeform 44"/>
          <p:cNvSpPr>
            <a:spLocks noEditPoints="1"/>
          </p:cNvSpPr>
          <p:nvPr/>
        </p:nvSpPr>
        <p:spPr bwMode="auto">
          <a:xfrm>
            <a:off x="10966795" y="509538"/>
            <a:ext cx="573565" cy="621313"/>
          </a:xfrm>
          <a:custGeom>
            <a:avLst/>
            <a:gdLst>
              <a:gd name="T0" fmla="*/ 583 w 837"/>
              <a:gd name="T1" fmla="*/ 579 h 901"/>
              <a:gd name="T2" fmla="*/ 511 w 837"/>
              <a:gd name="T3" fmla="*/ 650 h 901"/>
              <a:gd name="T4" fmla="*/ 583 w 837"/>
              <a:gd name="T5" fmla="*/ 722 h 901"/>
              <a:gd name="T6" fmla="*/ 654 w 837"/>
              <a:gd name="T7" fmla="*/ 650 h 901"/>
              <a:gd name="T8" fmla="*/ 583 w 837"/>
              <a:gd name="T9" fmla="*/ 579 h 901"/>
              <a:gd name="T10" fmla="*/ 332 w 837"/>
              <a:gd name="T11" fmla="*/ 579 h 901"/>
              <a:gd name="T12" fmla="*/ 260 w 837"/>
              <a:gd name="T13" fmla="*/ 650 h 901"/>
              <a:gd name="T14" fmla="*/ 332 w 837"/>
              <a:gd name="T15" fmla="*/ 722 h 901"/>
              <a:gd name="T16" fmla="*/ 404 w 837"/>
              <a:gd name="T17" fmla="*/ 650 h 901"/>
              <a:gd name="T18" fmla="*/ 332 w 837"/>
              <a:gd name="T19" fmla="*/ 579 h 901"/>
              <a:gd name="T20" fmla="*/ 332 w 837"/>
              <a:gd name="T21" fmla="*/ 435 h 901"/>
              <a:gd name="T22" fmla="*/ 260 w 837"/>
              <a:gd name="T23" fmla="*/ 364 h 901"/>
              <a:gd name="T24" fmla="*/ 189 w 837"/>
              <a:gd name="T25" fmla="*/ 435 h 901"/>
              <a:gd name="T26" fmla="*/ 260 w 837"/>
              <a:gd name="T27" fmla="*/ 507 h 901"/>
              <a:gd name="T28" fmla="*/ 332 w 837"/>
              <a:gd name="T29" fmla="*/ 435 h 901"/>
              <a:gd name="T30" fmla="*/ 404 w 837"/>
              <a:gd name="T31" fmla="*/ 185 h 901"/>
              <a:gd name="T32" fmla="*/ 332 w 837"/>
              <a:gd name="T33" fmla="*/ 256 h 901"/>
              <a:gd name="T34" fmla="*/ 404 w 837"/>
              <a:gd name="T35" fmla="*/ 328 h 901"/>
              <a:gd name="T36" fmla="*/ 475 w 837"/>
              <a:gd name="T37" fmla="*/ 256 h 901"/>
              <a:gd name="T38" fmla="*/ 404 w 837"/>
              <a:gd name="T39" fmla="*/ 185 h 901"/>
              <a:gd name="T40" fmla="*/ 757 w 837"/>
              <a:gd name="T41" fmla="*/ 635 h 901"/>
              <a:gd name="T42" fmla="*/ 698 w 837"/>
              <a:gd name="T43" fmla="*/ 711 h 901"/>
              <a:gd name="T44" fmla="*/ 429 w 837"/>
              <a:gd name="T45" fmla="*/ 829 h 901"/>
              <a:gd name="T46" fmla="*/ 207 w 837"/>
              <a:gd name="T47" fmla="*/ 738 h 901"/>
              <a:gd name="T48" fmla="*/ 233 w 837"/>
              <a:gd name="T49" fmla="*/ 231 h 901"/>
              <a:gd name="T50" fmla="*/ 502 w 837"/>
              <a:gd name="T51" fmla="*/ 113 h 901"/>
              <a:gd name="T52" fmla="*/ 658 w 837"/>
              <a:gd name="T53" fmla="*/ 154 h 901"/>
              <a:gd name="T54" fmla="*/ 675 w 837"/>
              <a:gd name="T55" fmla="*/ 177 h 901"/>
              <a:gd name="T56" fmla="*/ 665 w 837"/>
              <a:gd name="T57" fmla="*/ 208 h 901"/>
              <a:gd name="T58" fmla="*/ 602 w 837"/>
              <a:gd name="T59" fmla="*/ 366 h 901"/>
              <a:gd name="T60" fmla="*/ 744 w 837"/>
              <a:gd name="T61" fmla="*/ 584 h 901"/>
              <a:gd name="T62" fmla="*/ 760 w 837"/>
              <a:gd name="T63" fmla="*/ 605 h 901"/>
              <a:gd name="T64" fmla="*/ 757 w 837"/>
              <a:gd name="T65" fmla="*/ 635 h 901"/>
              <a:gd name="T66" fmla="*/ 829 w 837"/>
              <a:gd name="T67" fmla="*/ 585 h 901"/>
              <a:gd name="T68" fmla="*/ 776 w 837"/>
              <a:gd name="T69" fmla="*/ 520 h 901"/>
              <a:gd name="T70" fmla="*/ 673 w 837"/>
              <a:gd name="T71" fmla="*/ 366 h 901"/>
              <a:gd name="T72" fmla="*/ 718 w 837"/>
              <a:gd name="T73" fmla="*/ 257 h 901"/>
              <a:gd name="T74" fmla="*/ 746 w 837"/>
              <a:gd name="T75" fmla="*/ 166 h 901"/>
              <a:gd name="T76" fmla="*/ 694 w 837"/>
              <a:gd name="T77" fmla="*/ 92 h 901"/>
              <a:gd name="T78" fmla="*/ 181 w 837"/>
              <a:gd name="T79" fmla="*/ 181 h 901"/>
              <a:gd name="T80" fmla="*/ 156 w 837"/>
              <a:gd name="T81" fmla="*/ 788 h 901"/>
              <a:gd name="T82" fmla="*/ 429 w 837"/>
              <a:gd name="T83" fmla="*/ 901 h 901"/>
              <a:gd name="T84" fmla="*/ 749 w 837"/>
              <a:gd name="T85" fmla="*/ 761 h 901"/>
              <a:gd name="T86" fmla="*/ 818 w 837"/>
              <a:gd name="T87" fmla="*/ 672 h 901"/>
              <a:gd name="T88" fmla="*/ 829 w 837"/>
              <a:gd name="T89" fmla="*/ 585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37" h="901">
                <a:moveTo>
                  <a:pt x="583" y="579"/>
                </a:moveTo>
                <a:cubicBezTo>
                  <a:pt x="543" y="579"/>
                  <a:pt x="511" y="611"/>
                  <a:pt x="511" y="650"/>
                </a:cubicBezTo>
                <a:cubicBezTo>
                  <a:pt x="511" y="690"/>
                  <a:pt x="543" y="722"/>
                  <a:pt x="583" y="722"/>
                </a:cubicBezTo>
                <a:cubicBezTo>
                  <a:pt x="622" y="722"/>
                  <a:pt x="654" y="690"/>
                  <a:pt x="654" y="650"/>
                </a:cubicBezTo>
                <a:cubicBezTo>
                  <a:pt x="654" y="611"/>
                  <a:pt x="622" y="579"/>
                  <a:pt x="583" y="579"/>
                </a:cubicBezTo>
                <a:close/>
                <a:moveTo>
                  <a:pt x="332" y="579"/>
                </a:moveTo>
                <a:cubicBezTo>
                  <a:pt x="292" y="579"/>
                  <a:pt x="260" y="611"/>
                  <a:pt x="260" y="650"/>
                </a:cubicBezTo>
                <a:cubicBezTo>
                  <a:pt x="260" y="690"/>
                  <a:pt x="292" y="722"/>
                  <a:pt x="332" y="722"/>
                </a:cubicBezTo>
                <a:cubicBezTo>
                  <a:pt x="372" y="722"/>
                  <a:pt x="404" y="690"/>
                  <a:pt x="404" y="650"/>
                </a:cubicBezTo>
                <a:cubicBezTo>
                  <a:pt x="404" y="611"/>
                  <a:pt x="372" y="579"/>
                  <a:pt x="332" y="579"/>
                </a:cubicBezTo>
                <a:close/>
                <a:moveTo>
                  <a:pt x="332" y="435"/>
                </a:moveTo>
                <a:cubicBezTo>
                  <a:pt x="332" y="396"/>
                  <a:pt x="300" y="364"/>
                  <a:pt x="260" y="364"/>
                </a:cubicBezTo>
                <a:cubicBezTo>
                  <a:pt x="221" y="364"/>
                  <a:pt x="189" y="396"/>
                  <a:pt x="189" y="435"/>
                </a:cubicBezTo>
                <a:cubicBezTo>
                  <a:pt x="189" y="475"/>
                  <a:pt x="221" y="507"/>
                  <a:pt x="260" y="507"/>
                </a:cubicBezTo>
                <a:cubicBezTo>
                  <a:pt x="300" y="507"/>
                  <a:pt x="332" y="475"/>
                  <a:pt x="332" y="435"/>
                </a:cubicBezTo>
                <a:close/>
                <a:moveTo>
                  <a:pt x="404" y="185"/>
                </a:moveTo>
                <a:cubicBezTo>
                  <a:pt x="364" y="185"/>
                  <a:pt x="332" y="217"/>
                  <a:pt x="332" y="256"/>
                </a:cubicBezTo>
                <a:cubicBezTo>
                  <a:pt x="332" y="296"/>
                  <a:pt x="364" y="328"/>
                  <a:pt x="404" y="328"/>
                </a:cubicBezTo>
                <a:cubicBezTo>
                  <a:pt x="443" y="328"/>
                  <a:pt x="475" y="296"/>
                  <a:pt x="475" y="256"/>
                </a:cubicBezTo>
                <a:cubicBezTo>
                  <a:pt x="475" y="217"/>
                  <a:pt x="443" y="185"/>
                  <a:pt x="404" y="185"/>
                </a:cubicBezTo>
                <a:close/>
                <a:moveTo>
                  <a:pt x="757" y="635"/>
                </a:moveTo>
                <a:cubicBezTo>
                  <a:pt x="740" y="663"/>
                  <a:pt x="721" y="688"/>
                  <a:pt x="698" y="711"/>
                </a:cubicBezTo>
                <a:cubicBezTo>
                  <a:pt x="625" y="786"/>
                  <a:pt x="527" y="829"/>
                  <a:pt x="429" y="829"/>
                </a:cubicBezTo>
                <a:cubicBezTo>
                  <a:pt x="343" y="829"/>
                  <a:pt x="265" y="797"/>
                  <a:pt x="207" y="738"/>
                </a:cubicBezTo>
                <a:cubicBezTo>
                  <a:pt x="78" y="605"/>
                  <a:pt x="89" y="378"/>
                  <a:pt x="233" y="231"/>
                </a:cubicBezTo>
                <a:cubicBezTo>
                  <a:pt x="308" y="154"/>
                  <a:pt x="406" y="113"/>
                  <a:pt x="502" y="113"/>
                </a:cubicBezTo>
                <a:cubicBezTo>
                  <a:pt x="557" y="113"/>
                  <a:pt x="610" y="126"/>
                  <a:pt x="658" y="154"/>
                </a:cubicBezTo>
                <a:cubicBezTo>
                  <a:pt x="668" y="159"/>
                  <a:pt x="674" y="167"/>
                  <a:pt x="675" y="177"/>
                </a:cubicBezTo>
                <a:cubicBezTo>
                  <a:pt x="677" y="188"/>
                  <a:pt x="673" y="199"/>
                  <a:pt x="665" y="208"/>
                </a:cubicBezTo>
                <a:cubicBezTo>
                  <a:pt x="624" y="253"/>
                  <a:pt x="602" y="309"/>
                  <a:pt x="602" y="366"/>
                </a:cubicBezTo>
                <a:cubicBezTo>
                  <a:pt x="602" y="456"/>
                  <a:pt x="656" y="540"/>
                  <a:pt x="744" y="584"/>
                </a:cubicBezTo>
                <a:cubicBezTo>
                  <a:pt x="754" y="590"/>
                  <a:pt x="759" y="600"/>
                  <a:pt x="760" y="605"/>
                </a:cubicBezTo>
                <a:cubicBezTo>
                  <a:pt x="763" y="615"/>
                  <a:pt x="762" y="626"/>
                  <a:pt x="757" y="635"/>
                </a:cubicBezTo>
                <a:close/>
                <a:moveTo>
                  <a:pt x="829" y="585"/>
                </a:moveTo>
                <a:cubicBezTo>
                  <a:pt x="821" y="557"/>
                  <a:pt x="801" y="533"/>
                  <a:pt x="776" y="520"/>
                </a:cubicBezTo>
                <a:cubicBezTo>
                  <a:pt x="713" y="488"/>
                  <a:pt x="673" y="429"/>
                  <a:pt x="673" y="366"/>
                </a:cubicBezTo>
                <a:cubicBezTo>
                  <a:pt x="673" y="326"/>
                  <a:pt x="689" y="288"/>
                  <a:pt x="718" y="257"/>
                </a:cubicBezTo>
                <a:cubicBezTo>
                  <a:pt x="741" y="231"/>
                  <a:pt x="751" y="198"/>
                  <a:pt x="746" y="166"/>
                </a:cubicBezTo>
                <a:cubicBezTo>
                  <a:pt x="741" y="135"/>
                  <a:pt x="722" y="108"/>
                  <a:pt x="694" y="92"/>
                </a:cubicBezTo>
                <a:cubicBezTo>
                  <a:pt x="533" y="0"/>
                  <a:pt x="323" y="37"/>
                  <a:pt x="181" y="181"/>
                </a:cubicBezTo>
                <a:cubicBezTo>
                  <a:pt x="11" y="356"/>
                  <a:pt x="0" y="628"/>
                  <a:pt x="156" y="788"/>
                </a:cubicBezTo>
                <a:cubicBezTo>
                  <a:pt x="227" y="861"/>
                  <a:pt x="324" y="901"/>
                  <a:pt x="429" y="901"/>
                </a:cubicBezTo>
                <a:cubicBezTo>
                  <a:pt x="546" y="901"/>
                  <a:pt x="663" y="850"/>
                  <a:pt x="749" y="761"/>
                </a:cubicBezTo>
                <a:cubicBezTo>
                  <a:pt x="776" y="734"/>
                  <a:pt x="799" y="704"/>
                  <a:pt x="818" y="672"/>
                </a:cubicBezTo>
                <a:cubicBezTo>
                  <a:pt x="833" y="646"/>
                  <a:pt x="837" y="615"/>
                  <a:pt x="829" y="58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7" name="Freeform 45"/>
          <p:cNvSpPr>
            <a:spLocks noEditPoints="1"/>
          </p:cNvSpPr>
          <p:nvPr/>
        </p:nvSpPr>
        <p:spPr bwMode="auto">
          <a:xfrm>
            <a:off x="630619" y="1794187"/>
            <a:ext cx="588580" cy="567288"/>
          </a:xfrm>
          <a:custGeom>
            <a:avLst/>
            <a:gdLst>
              <a:gd name="T0" fmla="*/ 573 w 859"/>
              <a:gd name="T1" fmla="*/ 573 h 824"/>
              <a:gd name="T2" fmla="*/ 573 w 859"/>
              <a:gd name="T3" fmla="*/ 645 h 824"/>
              <a:gd name="T4" fmla="*/ 859 w 859"/>
              <a:gd name="T5" fmla="*/ 645 h 824"/>
              <a:gd name="T6" fmla="*/ 859 w 859"/>
              <a:gd name="T7" fmla="*/ 573 h 824"/>
              <a:gd name="T8" fmla="*/ 573 w 859"/>
              <a:gd name="T9" fmla="*/ 573 h 824"/>
              <a:gd name="T10" fmla="*/ 787 w 859"/>
              <a:gd name="T11" fmla="*/ 537 h 824"/>
              <a:gd name="T12" fmla="*/ 787 w 859"/>
              <a:gd name="T13" fmla="*/ 466 h 824"/>
              <a:gd name="T14" fmla="*/ 573 w 859"/>
              <a:gd name="T15" fmla="*/ 466 h 824"/>
              <a:gd name="T16" fmla="*/ 573 w 859"/>
              <a:gd name="T17" fmla="*/ 537 h 824"/>
              <a:gd name="T18" fmla="*/ 787 w 859"/>
              <a:gd name="T19" fmla="*/ 537 h 824"/>
              <a:gd name="T20" fmla="*/ 250 w 859"/>
              <a:gd name="T21" fmla="*/ 430 h 824"/>
              <a:gd name="T22" fmla="*/ 250 w 859"/>
              <a:gd name="T23" fmla="*/ 698 h 824"/>
              <a:gd name="T24" fmla="*/ 394 w 859"/>
              <a:gd name="T25" fmla="*/ 627 h 824"/>
              <a:gd name="T26" fmla="*/ 537 w 859"/>
              <a:gd name="T27" fmla="*/ 698 h 824"/>
              <a:gd name="T28" fmla="*/ 537 w 859"/>
              <a:gd name="T29" fmla="*/ 430 h 824"/>
              <a:gd name="T30" fmla="*/ 465 w 859"/>
              <a:gd name="T31" fmla="*/ 430 h 824"/>
              <a:gd name="T32" fmla="*/ 465 w 859"/>
              <a:gd name="T33" fmla="*/ 582 h 824"/>
              <a:gd name="T34" fmla="*/ 394 w 859"/>
              <a:gd name="T35" fmla="*/ 547 h 824"/>
              <a:gd name="T36" fmla="*/ 322 w 859"/>
              <a:gd name="T37" fmla="*/ 582 h 824"/>
              <a:gd name="T38" fmla="*/ 322 w 859"/>
              <a:gd name="T39" fmla="*/ 430 h 824"/>
              <a:gd name="T40" fmla="*/ 250 w 859"/>
              <a:gd name="T41" fmla="*/ 430 h 824"/>
              <a:gd name="T42" fmla="*/ 788 w 859"/>
              <a:gd name="T43" fmla="*/ 125 h 824"/>
              <a:gd name="T44" fmla="*/ 662 w 859"/>
              <a:gd name="T45" fmla="*/ 0 h 824"/>
              <a:gd name="T46" fmla="*/ 143 w 859"/>
              <a:gd name="T47" fmla="*/ 0 h 824"/>
              <a:gd name="T48" fmla="*/ 143 w 859"/>
              <a:gd name="T49" fmla="*/ 72 h 824"/>
              <a:gd name="T50" fmla="*/ 662 w 859"/>
              <a:gd name="T51" fmla="*/ 72 h 824"/>
              <a:gd name="T52" fmla="*/ 716 w 859"/>
              <a:gd name="T53" fmla="*/ 125 h 824"/>
              <a:gd name="T54" fmla="*/ 662 w 859"/>
              <a:gd name="T55" fmla="*/ 179 h 824"/>
              <a:gd name="T56" fmla="*/ 143 w 859"/>
              <a:gd name="T57" fmla="*/ 179 h 824"/>
              <a:gd name="T58" fmla="*/ 143 w 859"/>
              <a:gd name="T59" fmla="*/ 251 h 824"/>
              <a:gd name="T60" fmla="*/ 662 w 859"/>
              <a:gd name="T61" fmla="*/ 251 h 824"/>
              <a:gd name="T62" fmla="*/ 788 w 859"/>
              <a:gd name="T63" fmla="*/ 125 h 824"/>
              <a:gd name="T64" fmla="*/ 197 w 859"/>
              <a:gd name="T65" fmla="*/ 537 h 824"/>
              <a:gd name="T66" fmla="*/ 214 w 859"/>
              <a:gd name="T67" fmla="*/ 537 h 824"/>
              <a:gd name="T68" fmla="*/ 214 w 859"/>
              <a:gd name="T69" fmla="*/ 466 h 824"/>
              <a:gd name="T70" fmla="*/ 197 w 859"/>
              <a:gd name="T71" fmla="*/ 466 h 824"/>
              <a:gd name="T72" fmla="*/ 143 w 859"/>
              <a:gd name="T73" fmla="*/ 412 h 824"/>
              <a:gd name="T74" fmla="*/ 197 w 859"/>
              <a:gd name="T75" fmla="*/ 358 h 824"/>
              <a:gd name="T76" fmla="*/ 787 w 859"/>
              <a:gd name="T77" fmla="*/ 358 h 824"/>
              <a:gd name="T78" fmla="*/ 787 w 859"/>
              <a:gd name="T79" fmla="*/ 286 h 824"/>
              <a:gd name="T80" fmla="*/ 197 w 859"/>
              <a:gd name="T81" fmla="*/ 286 h 824"/>
              <a:gd name="T82" fmla="*/ 71 w 859"/>
              <a:gd name="T83" fmla="*/ 412 h 824"/>
              <a:gd name="T84" fmla="*/ 197 w 859"/>
              <a:gd name="T85" fmla="*/ 537 h 824"/>
              <a:gd name="T86" fmla="*/ 71 w 859"/>
              <a:gd name="T87" fmla="*/ 698 h 824"/>
              <a:gd name="T88" fmla="*/ 125 w 859"/>
              <a:gd name="T89" fmla="*/ 645 h 824"/>
              <a:gd name="T90" fmla="*/ 214 w 859"/>
              <a:gd name="T91" fmla="*/ 645 h 824"/>
              <a:gd name="T92" fmla="*/ 214 w 859"/>
              <a:gd name="T93" fmla="*/ 573 h 824"/>
              <a:gd name="T94" fmla="*/ 125 w 859"/>
              <a:gd name="T95" fmla="*/ 573 h 824"/>
              <a:gd name="T96" fmla="*/ 0 w 859"/>
              <a:gd name="T97" fmla="*/ 698 h 824"/>
              <a:gd name="T98" fmla="*/ 125 w 859"/>
              <a:gd name="T99" fmla="*/ 824 h 824"/>
              <a:gd name="T100" fmla="*/ 859 w 859"/>
              <a:gd name="T101" fmla="*/ 824 h 824"/>
              <a:gd name="T102" fmla="*/ 859 w 859"/>
              <a:gd name="T103" fmla="*/ 752 h 824"/>
              <a:gd name="T104" fmla="*/ 125 w 859"/>
              <a:gd name="T105" fmla="*/ 752 h 824"/>
              <a:gd name="T106" fmla="*/ 71 w 859"/>
              <a:gd name="T107" fmla="*/ 698 h 8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59" h="824">
                <a:moveTo>
                  <a:pt x="573" y="573"/>
                </a:moveTo>
                <a:lnTo>
                  <a:pt x="573" y="645"/>
                </a:lnTo>
                <a:lnTo>
                  <a:pt x="859" y="645"/>
                </a:lnTo>
                <a:lnTo>
                  <a:pt x="859" y="573"/>
                </a:lnTo>
                <a:lnTo>
                  <a:pt x="573" y="573"/>
                </a:lnTo>
                <a:close/>
                <a:moveTo>
                  <a:pt x="787" y="537"/>
                </a:moveTo>
                <a:lnTo>
                  <a:pt x="787" y="466"/>
                </a:lnTo>
                <a:lnTo>
                  <a:pt x="573" y="466"/>
                </a:lnTo>
                <a:lnTo>
                  <a:pt x="573" y="537"/>
                </a:lnTo>
                <a:lnTo>
                  <a:pt x="787" y="537"/>
                </a:lnTo>
                <a:close/>
                <a:moveTo>
                  <a:pt x="250" y="430"/>
                </a:moveTo>
                <a:lnTo>
                  <a:pt x="250" y="698"/>
                </a:lnTo>
                <a:lnTo>
                  <a:pt x="394" y="627"/>
                </a:lnTo>
                <a:lnTo>
                  <a:pt x="537" y="698"/>
                </a:lnTo>
                <a:lnTo>
                  <a:pt x="537" y="430"/>
                </a:lnTo>
                <a:lnTo>
                  <a:pt x="465" y="430"/>
                </a:lnTo>
                <a:lnTo>
                  <a:pt x="465" y="582"/>
                </a:lnTo>
                <a:lnTo>
                  <a:pt x="394" y="547"/>
                </a:lnTo>
                <a:lnTo>
                  <a:pt x="322" y="582"/>
                </a:lnTo>
                <a:lnTo>
                  <a:pt x="322" y="430"/>
                </a:lnTo>
                <a:lnTo>
                  <a:pt x="250" y="430"/>
                </a:lnTo>
                <a:close/>
                <a:moveTo>
                  <a:pt x="788" y="125"/>
                </a:moveTo>
                <a:cubicBezTo>
                  <a:pt x="788" y="56"/>
                  <a:pt x="731" y="0"/>
                  <a:pt x="662" y="0"/>
                </a:cubicBezTo>
                <a:lnTo>
                  <a:pt x="143" y="0"/>
                </a:lnTo>
                <a:lnTo>
                  <a:pt x="143" y="72"/>
                </a:lnTo>
                <a:lnTo>
                  <a:pt x="662" y="72"/>
                </a:lnTo>
                <a:cubicBezTo>
                  <a:pt x="692" y="72"/>
                  <a:pt x="716" y="96"/>
                  <a:pt x="716" y="125"/>
                </a:cubicBezTo>
                <a:cubicBezTo>
                  <a:pt x="716" y="155"/>
                  <a:pt x="692" y="179"/>
                  <a:pt x="662" y="179"/>
                </a:cubicBezTo>
                <a:lnTo>
                  <a:pt x="143" y="179"/>
                </a:lnTo>
                <a:lnTo>
                  <a:pt x="143" y="251"/>
                </a:lnTo>
                <a:lnTo>
                  <a:pt x="662" y="251"/>
                </a:lnTo>
                <a:cubicBezTo>
                  <a:pt x="731" y="251"/>
                  <a:pt x="788" y="194"/>
                  <a:pt x="788" y="125"/>
                </a:cubicBezTo>
                <a:close/>
                <a:moveTo>
                  <a:pt x="197" y="537"/>
                </a:moveTo>
                <a:lnTo>
                  <a:pt x="214" y="537"/>
                </a:lnTo>
                <a:lnTo>
                  <a:pt x="214" y="466"/>
                </a:lnTo>
                <a:lnTo>
                  <a:pt x="197" y="466"/>
                </a:lnTo>
                <a:cubicBezTo>
                  <a:pt x="167" y="466"/>
                  <a:pt x="143" y="441"/>
                  <a:pt x="143" y="412"/>
                </a:cubicBezTo>
                <a:cubicBezTo>
                  <a:pt x="143" y="382"/>
                  <a:pt x="167" y="358"/>
                  <a:pt x="197" y="358"/>
                </a:cubicBezTo>
                <a:lnTo>
                  <a:pt x="787" y="358"/>
                </a:lnTo>
                <a:lnTo>
                  <a:pt x="787" y="286"/>
                </a:lnTo>
                <a:lnTo>
                  <a:pt x="197" y="286"/>
                </a:lnTo>
                <a:cubicBezTo>
                  <a:pt x="128" y="286"/>
                  <a:pt x="71" y="343"/>
                  <a:pt x="71" y="412"/>
                </a:cubicBezTo>
                <a:cubicBezTo>
                  <a:pt x="71" y="481"/>
                  <a:pt x="128" y="537"/>
                  <a:pt x="197" y="537"/>
                </a:cubicBezTo>
                <a:close/>
                <a:moveTo>
                  <a:pt x="71" y="698"/>
                </a:moveTo>
                <a:cubicBezTo>
                  <a:pt x="71" y="669"/>
                  <a:pt x="95" y="645"/>
                  <a:pt x="125" y="645"/>
                </a:cubicBezTo>
                <a:lnTo>
                  <a:pt x="214" y="645"/>
                </a:lnTo>
                <a:lnTo>
                  <a:pt x="214" y="573"/>
                </a:lnTo>
                <a:lnTo>
                  <a:pt x="125" y="573"/>
                </a:lnTo>
                <a:cubicBezTo>
                  <a:pt x="56" y="573"/>
                  <a:pt x="0" y="629"/>
                  <a:pt x="0" y="698"/>
                </a:cubicBezTo>
                <a:cubicBezTo>
                  <a:pt x="0" y="767"/>
                  <a:pt x="56" y="824"/>
                  <a:pt x="125" y="824"/>
                </a:cubicBezTo>
                <a:lnTo>
                  <a:pt x="859" y="824"/>
                </a:lnTo>
                <a:lnTo>
                  <a:pt x="859" y="752"/>
                </a:lnTo>
                <a:lnTo>
                  <a:pt x="125" y="752"/>
                </a:lnTo>
                <a:cubicBezTo>
                  <a:pt x="95" y="752"/>
                  <a:pt x="71" y="728"/>
                  <a:pt x="71" y="69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0" name="Freeform 48"/>
          <p:cNvSpPr>
            <a:spLocks noEditPoints="1"/>
          </p:cNvSpPr>
          <p:nvPr/>
        </p:nvSpPr>
        <p:spPr bwMode="auto">
          <a:xfrm>
            <a:off x="5065986" y="538051"/>
            <a:ext cx="582575" cy="564285"/>
          </a:xfrm>
          <a:custGeom>
            <a:avLst/>
            <a:gdLst>
              <a:gd name="T0" fmla="*/ 388 w 848"/>
              <a:gd name="T1" fmla="*/ 486 h 821"/>
              <a:gd name="T2" fmla="*/ 291 w 848"/>
              <a:gd name="T3" fmla="*/ 583 h 821"/>
              <a:gd name="T4" fmla="*/ 342 w 848"/>
              <a:gd name="T5" fmla="*/ 634 h 821"/>
              <a:gd name="T6" fmla="*/ 460 w 848"/>
              <a:gd name="T7" fmla="*/ 516 h 821"/>
              <a:gd name="T8" fmla="*/ 460 w 848"/>
              <a:gd name="T9" fmla="*/ 267 h 821"/>
              <a:gd name="T10" fmla="*/ 388 w 848"/>
              <a:gd name="T11" fmla="*/ 267 h 821"/>
              <a:gd name="T12" fmla="*/ 388 w 848"/>
              <a:gd name="T13" fmla="*/ 486 h 821"/>
              <a:gd name="T14" fmla="*/ 172 w 848"/>
              <a:gd name="T15" fmla="*/ 118 h 821"/>
              <a:gd name="T16" fmla="*/ 259 w 848"/>
              <a:gd name="T17" fmla="*/ 69 h 821"/>
              <a:gd name="T18" fmla="*/ 231 w 848"/>
              <a:gd name="T19" fmla="*/ 3 h 821"/>
              <a:gd name="T20" fmla="*/ 130 w 848"/>
              <a:gd name="T21" fmla="*/ 60 h 821"/>
              <a:gd name="T22" fmla="*/ 0 w 848"/>
              <a:gd name="T23" fmla="*/ 195 h 821"/>
              <a:gd name="T24" fmla="*/ 60 w 848"/>
              <a:gd name="T25" fmla="*/ 234 h 821"/>
              <a:gd name="T26" fmla="*/ 172 w 848"/>
              <a:gd name="T27" fmla="*/ 118 h 821"/>
              <a:gd name="T28" fmla="*/ 719 w 848"/>
              <a:gd name="T29" fmla="*/ 57 h 821"/>
              <a:gd name="T30" fmla="*/ 617 w 848"/>
              <a:gd name="T31" fmla="*/ 0 h 821"/>
              <a:gd name="T32" fmla="*/ 590 w 848"/>
              <a:gd name="T33" fmla="*/ 66 h 821"/>
              <a:gd name="T34" fmla="*/ 677 w 848"/>
              <a:gd name="T35" fmla="*/ 115 h 821"/>
              <a:gd name="T36" fmla="*/ 788 w 848"/>
              <a:gd name="T37" fmla="*/ 234 h 821"/>
              <a:gd name="T38" fmla="*/ 848 w 848"/>
              <a:gd name="T39" fmla="*/ 196 h 821"/>
              <a:gd name="T40" fmla="*/ 719 w 848"/>
              <a:gd name="T41" fmla="*/ 57 h 821"/>
              <a:gd name="T42" fmla="*/ 424 w 848"/>
              <a:gd name="T43" fmla="*/ 749 h 821"/>
              <a:gd name="T44" fmla="*/ 138 w 848"/>
              <a:gd name="T45" fmla="*/ 463 h 821"/>
              <a:gd name="T46" fmla="*/ 424 w 848"/>
              <a:gd name="T47" fmla="*/ 176 h 821"/>
              <a:gd name="T48" fmla="*/ 711 w 848"/>
              <a:gd name="T49" fmla="*/ 463 h 821"/>
              <a:gd name="T50" fmla="*/ 424 w 848"/>
              <a:gd name="T51" fmla="*/ 749 h 821"/>
              <a:gd name="T52" fmla="*/ 424 w 848"/>
              <a:gd name="T53" fmla="*/ 105 h 821"/>
              <a:gd name="T54" fmla="*/ 66 w 848"/>
              <a:gd name="T55" fmla="*/ 463 h 821"/>
              <a:gd name="T56" fmla="*/ 424 w 848"/>
              <a:gd name="T57" fmla="*/ 821 h 821"/>
              <a:gd name="T58" fmla="*/ 782 w 848"/>
              <a:gd name="T59" fmla="*/ 463 h 821"/>
              <a:gd name="T60" fmla="*/ 424 w 848"/>
              <a:gd name="T61" fmla="*/ 105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848" h="821">
                <a:moveTo>
                  <a:pt x="388" y="486"/>
                </a:moveTo>
                <a:lnTo>
                  <a:pt x="291" y="583"/>
                </a:lnTo>
                <a:lnTo>
                  <a:pt x="342" y="634"/>
                </a:lnTo>
                <a:lnTo>
                  <a:pt x="460" y="516"/>
                </a:lnTo>
                <a:lnTo>
                  <a:pt x="460" y="267"/>
                </a:lnTo>
                <a:lnTo>
                  <a:pt x="388" y="267"/>
                </a:lnTo>
                <a:lnTo>
                  <a:pt x="388" y="486"/>
                </a:lnTo>
                <a:close/>
                <a:moveTo>
                  <a:pt x="172" y="118"/>
                </a:moveTo>
                <a:cubicBezTo>
                  <a:pt x="199" y="98"/>
                  <a:pt x="228" y="82"/>
                  <a:pt x="259" y="69"/>
                </a:cubicBezTo>
                <a:lnTo>
                  <a:pt x="231" y="3"/>
                </a:lnTo>
                <a:cubicBezTo>
                  <a:pt x="195" y="18"/>
                  <a:pt x="161" y="37"/>
                  <a:pt x="130" y="60"/>
                </a:cubicBezTo>
                <a:cubicBezTo>
                  <a:pt x="76" y="98"/>
                  <a:pt x="33" y="144"/>
                  <a:pt x="0" y="195"/>
                </a:cubicBezTo>
                <a:lnTo>
                  <a:pt x="60" y="234"/>
                </a:lnTo>
                <a:cubicBezTo>
                  <a:pt x="89" y="190"/>
                  <a:pt x="126" y="151"/>
                  <a:pt x="172" y="118"/>
                </a:cubicBezTo>
                <a:close/>
                <a:moveTo>
                  <a:pt x="719" y="57"/>
                </a:moveTo>
                <a:cubicBezTo>
                  <a:pt x="687" y="34"/>
                  <a:pt x="653" y="15"/>
                  <a:pt x="617" y="0"/>
                </a:cubicBezTo>
                <a:lnTo>
                  <a:pt x="590" y="66"/>
                </a:lnTo>
                <a:cubicBezTo>
                  <a:pt x="620" y="79"/>
                  <a:pt x="650" y="95"/>
                  <a:pt x="677" y="115"/>
                </a:cubicBezTo>
                <a:cubicBezTo>
                  <a:pt x="721" y="147"/>
                  <a:pt x="758" y="187"/>
                  <a:pt x="788" y="234"/>
                </a:cubicBezTo>
                <a:lnTo>
                  <a:pt x="848" y="196"/>
                </a:lnTo>
                <a:cubicBezTo>
                  <a:pt x="814" y="141"/>
                  <a:pt x="770" y="95"/>
                  <a:pt x="719" y="57"/>
                </a:cubicBezTo>
                <a:close/>
                <a:moveTo>
                  <a:pt x="424" y="749"/>
                </a:moveTo>
                <a:cubicBezTo>
                  <a:pt x="266" y="749"/>
                  <a:pt x="138" y="621"/>
                  <a:pt x="138" y="463"/>
                </a:cubicBezTo>
                <a:cubicBezTo>
                  <a:pt x="138" y="305"/>
                  <a:pt x="266" y="176"/>
                  <a:pt x="424" y="176"/>
                </a:cubicBezTo>
                <a:cubicBezTo>
                  <a:pt x="582" y="176"/>
                  <a:pt x="711" y="305"/>
                  <a:pt x="711" y="463"/>
                </a:cubicBezTo>
                <a:cubicBezTo>
                  <a:pt x="711" y="621"/>
                  <a:pt x="582" y="749"/>
                  <a:pt x="424" y="749"/>
                </a:cubicBezTo>
                <a:close/>
                <a:moveTo>
                  <a:pt x="424" y="105"/>
                </a:moveTo>
                <a:cubicBezTo>
                  <a:pt x="227" y="105"/>
                  <a:pt x="66" y="265"/>
                  <a:pt x="66" y="463"/>
                </a:cubicBezTo>
                <a:cubicBezTo>
                  <a:pt x="66" y="660"/>
                  <a:pt x="227" y="821"/>
                  <a:pt x="424" y="821"/>
                </a:cubicBezTo>
                <a:cubicBezTo>
                  <a:pt x="622" y="821"/>
                  <a:pt x="782" y="660"/>
                  <a:pt x="782" y="463"/>
                </a:cubicBezTo>
                <a:cubicBezTo>
                  <a:pt x="782" y="265"/>
                  <a:pt x="622" y="105"/>
                  <a:pt x="424" y="10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4" name="Freeform 52"/>
          <p:cNvSpPr>
            <a:spLocks noEditPoints="1"/>
          </p:cNvSpPr>
          <p:nvPr/>
        </p:nvSpPr>
        <p:spPr bwMode="auto">
          <a:xfrm>
            <a:off x="6540438" y="1780680"/>
            <a:ext cx="576567" cy="594301"/>
          </a:xfrm>
          <a:custGeom>
            <a:avLst/>
            <a:gdLst>
              <a:gd name="T0" fmla="*/ 179 w 839"/>
              <a:gd name="T1" fmla="*/ 143 h 860"/>
              <a:gd name="T2" fmla="*/ 609 w 839"/>
              <a:gd name="T3" fmla="*/ 143 h 860"/>
              <a:gd name="T4" fmla="*/ 609 w 839"/>
              <a:gd name="T5" fmla="*/ 269 h 860"/>
              <a:gd name="T6" fmla="*/ 474 w 839"/>
              <a:gd name="T7" fmla="*/ 383 h 860"/>
              <a:gd name="T8" fmla="*/ 526 w 839"/>
              <a:gd name="T9" fmla="*/ 440 h 860"/>
              <a:gd name="T10" fmla="*/ 839 w 839"/>
              <a:gd name="T11" fmla="*/ 208 h 860"/>
              <a:gd name="T12" fmla="*/ 781 w 839"/>
              <a:gd name="T13" fmla="*/ 151 h 860"/>
              <a:gd name="T14" fmla="*/ 680 w 839"/>
              <a:gd name="T15" fmla="*/ 215 h 860"/>
              <a:gd name="T16" fmla="*/ 680 w 839"/>
              <a:gd name="T17" fmla="*/ 72 h 860"/>
              <a:gd name="T18" fmla="*/ 430 w 839"/>
              <a:gd name="T19" fmla="*/ 72 h 860"/>
              <a:gd name="T20" fmla="*/ 430 w 839"/>
              <a:gd name="T21" fmla="*/ 0 h 860"/>
              <a:gd name="T22" fmla="*/ 358 w 839"/>
              <a:gd name="T23" fmla="*/ 0 h 860"/>
              <a:gd name="T24" fmla="*/ 358 w 839"/>
              <a:gd name="T25" fmla="*/ 72 h 860"/>
              <a:gd name="T26" fmla="*/ 107 w 839"/>
              <a:gd name="T27" fmla="*/ 72 h 860"/>
              <a:gd name="T28" fmla="*/ 107 w 839"/>
              <a:gd name="T29" fmla="*/ 537 h 860"/>
              <a:gd name="T30" fmla="*/ 179 w 839"/>
              <a:gd name="T31" fmla="*/ 537 h 860"/>
              <a:gd name="T32" fmla="*/ 179 w 839"/>
              <a:gd name="T33" fmla="*/ 143 h 860"/>
              <a:gd name="T34" fmla="*/ 680 w 839"/>
              <a:gd name="T35" fmla="*/ 537 h 860"/>
              <a:gd name="T36" fmla="*/ 680 w 839"/>
              <a:gd name="T37" fmla="*/ 393 h 860"/>
              <a:gd name="T38" fmla="*/ 609 w 839"/>
              <a:gd name="T39" fmla="*/ 447 h 860"/>
              <a:gd name="T40" fmla="*/ 609 w 839"/>
              <a:gd name="T41" fmla="*/ 537 h 860"/>
              <a:gd name="T42" fmla="*/ 680 w 839"/>
              <a:gd name="T43" fmla="*/ 537 h 860"/>
              <a:gd name="T44" fmla="*/ 371 w 839"/>
              <a:gd name="T45" fmla="*/ 473 h 860"/>
              <a:gd name="T46" fmla="*/ 414 w 839"/>
              <a:gd name="T47" fmla="*/ 530 h 860"/>
              <a:gd name="T48" fmla="*/ 506 w 839"/>
              <a:gd name="T49" fmla="*/ 461 h 860"/>
              <a:gd name="T50" fmla="*/ 463 w 839"/>
              <a:gd name="T51" fmla="*/ 404 h 860"/>
              <a:gd name="T52" fmla="*/ 371 w 839"/>
              <a:gd name="T53" fmla="*/ 473 h 860"/>
              <a:gd name="T54" fmla="*/ 0 w 839"/>
              <a:gd name="T55" fmla="*/ 681 h 860"/>
              <a:gd name="T56" fmla="*/ 233 w 839"/>
              <a:gd name="T57" fmla="*/ 681 h 860"/>
              <a:gd name="T58" fmla="*/ 166 w 839"/>
              <a:gd name="T59" fmla="*/ 860 h 860"/>
              <a:gd name="T60" fmla="*/ 243 w 839"/>
              <a:gd name="T61" fmla="*/ 860 h 860"/>
              <a:gd name="T62" fmla="*/ 310 w 839"/>
              <a:gd name="T63" fmla="*/ 681 h 860"/>
              <a:gd name="T64" fmla="*/ 358 w 839"/>
              <a:gd name="T65" fmla="*/ 681 h 860"/>
              <a:gd name="T66" fmla="*/ 358 w 839"/>
              <a:gd name="T67" fmla="*/ 860 h 860"/>
              <a:gd name="T68" fmla="*/ 430 w 839"/>
              <a:gd name="T69" fmla="*/ 860 h 860"/>
              <a:gd name="T70" fmla="*/ 430 w 839"/>
              <a:gd name="T71" fmla="*/ 681 h 860"/>
              <a:gd name="T72" fmla="*/ 547 w 839"/>
              <a:gd name="T73" fmla="*/ 681 h 860"/>
              <a:gd name="T74" fmla="*/ 614 w 839"/>
              <a:gd name="T75" fmla="*/ 860 h 860"/>
              <a:gd name="T76" fmla="*/ 690 w 839"/>
              <a:gd name="T77" fmla="*/ 860 h 860"/>
              <a:gd name="T78" fmla="*/ 623 w 839"/>
              <a:gd name="T79" fmla="*/ 681 h 860"/>
              <a:gd name="T80" fmla="*/ 788 w 839"/>
              <a:gd name="T81" fmla="*/ 681 h 860"/>
              <a:gd name="T82" fmla="*/ 788 w 839"/>
              <a:gd name="T83" fmla="*/ 609 h 860"/>
              <a:gd name="T84" fmla="*/ 0 w 839"/>
              <a:gd name="T85" fmla="*/ 609 h 860"/>
              <a:gd name="T86" fmla="*/ 0 w 839"/>
              <a:gd name="T87" fmla="*/ 681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39" h="860">
                <a:moveTo>
                  <a:pt x="179" y="143"/>
                </a:moveTo>
                <a:lnTo>
                  <a:pt x="609" y="143"/>
                </a:lnTo>
                <a:lnTo>
                  <a:pt x="609" y="269"/>
                </a:lnTo>
                <a:lnTo>
                  <a:pt x="474" y="383"/>
                </a:lnTo>
                <a:lnTo>
                  <a:pt x="526" y="440"/>
                </a:lnTo>
                <a:lnTo>
                  <a:pt x="839" y="208"/>
                </a:lnTo>
                <a:lnTo>
                  <a:pt x="781" y="151"/>
                </a:lnTo>
                <a:lnTo>
                  <a:pt x="680" y="215"/>
                </a:lnTo>
                <a:lnTo>
                  <a:pt x="680" y="72"/>
                </a:lnTo>
                <a:lnTo>
                  <a:pt x="430" y="72"/>
                </a:lnTo>
                <a:lnTo>
                  <a:pt x="430" y="0"/>
                </a:lnTo>
                <a:lnTo>
                  <a:pt x="358" y="0"/>
                </a:lnTo>
                <a:lnTo>
                  <a:pt x="358" y="72"/>
                </a:lnTo>
                <a:lnTo>
                  <a:pt x="107" y="72"/>
                </a:lnTo>
                <a:lnTo>
                  <a:pt x="107" y="537"/>
                </a:lnTo>
                <a:lnTo>
                  <a:pt x="179" y="537"/>
                </a:lnTo>
                <a:lnTo>
                  <a:pt x="179" y="143"/>
                </a:lnTo>
                <a:close/>
                <a:moveTo>
                  <a:pt x="680" y="537"/>
                </a:moveTo>
                <a:lnTo>
                  <a:pt x="680" y="393"/>
                </a:lnTo>
                <a:lnTo>
                  <a:pt x="609" y="447"/>
                </a:lnTo>
                <a:lnTo>
                  <a:pt x="609" y="537"/>
                </a:lnTo>
                <a:lnTo>
                  <a:pt x="680" y="537"/>
                </a:lnTo>
                <a:close/>
                <a:moveTo>
                  <a:pt x="371" y="473"/>
                </a:moveTo>
                <a:lnTo>
                  <a:pt x="414" y="530"/>
                </a:lnTo>
                <a:lnTo>
                  <a:pt x="506" y="461"/>
                </a:lnTo>
                <a:lnTo>
                  <a:pt x="463" y="404"/>
                </a:lnTo>
                <a:lnTo>
                  <a:pt x="371" y="473"/>
                </a:lnTo>
                <a:close/>
                <a:moveTo>
                  <a:pt x="0" y="681"/>
                </a:moveTo>
                <a:lnTo>
                  <a:pt x="233" y="681"/>
                </a:lnTo>
                <a:lnTo>
                  <a:pt x="166" y="860"/>
                </a:lnTo>
                <a:lnTo>
                  <a:pt x="243" y="860"/>
                </a:lnTo>
                <a:lnTo>
                  <a:pt x="310" y="681"/>
                </a:lnTo>
                <a:lnTo>
                  <a:pt x="358" y="681"/>
                </a:lnTo>
                <a:lnTo>
                  <a:pt x="358" y="860"/>
                </a:lnTo>
                <a:lnTo>
                  <a:pt x="430" y="860"/>
                </a:lnTo>
                <a:lnTo>
                  <a:pt x="430" y="681"/>
                </a:lnTo>
                <a:lnTo>
                  <a:pt x="547" y="681"/>
                </a:lnTo>
                <a:lnTo>
                  <a:pt x="614" y="860"/>
                </a:lnTo>
                <a:lnTo>
                  <a:pt x="690" y="860"/>
                </a:lnTo>
                <a:lnTo>
                  <a:pt x="623" y="681"/>
                </a:lnTo>
                <a:lnTo>
                  <a:pt x="788" y="681"/>
                </a:lnTo>
                <a:lnTo>
                  <a:pt x="788" y="609"/>
                </a:lnTo>
                <a:lnTo>
                  <a:pt x="0" y="609"/>
                </a:lnTo>
                <a:lnTo>
                  <a:pt x="0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6" name="Freeform 54"/>
          <p:cNvSpPr>
            <a:spLocks noEditPoints="1"/>
          </p:cNvSpPr>
          <p:nvPr/>
        </p:nvSpPr>
        <p:spPr bwMode="auto">
          <a:xfrm>
            <a:off x="2108074" y="3005710"/>
            <a:ext cx="588580" cy="591300"/>
          </a:xfrm>
          <a:custGeom>
            <a:avLst/>
            <a:gdLst>
              <a:gd name="T0" fmla="*/ 358 w 860"/>
              <a:gd name="T1" fmla="*/ 322 h 859"/>
              <a:gd name="T2" fmla="*/ 358 w 860"/>
              <a:gd name="T3" fmla="*/ 250 h 859"/>
              <a:gd name="T4" fmla="*/ 287 w 860"/>
              <a:gd name="T5" fmla="*/ 250 h 859"/>
              <a:gd name="T6" fmla="*/ 287 w 860"/>
              <a:gd name="T7" fmla="*/ 322 h 859"/>
              <a:gd name="T8" fmla="*/ 358 w 860"/>
              <a:gd name="T9" fmla="*/ 322 h 859"/>
              <a:gd name="T10" fmla="*/ 215 w 860"/>
              <a:gd name="T11" fmla="*/ 394 h 859"/>
              <a:gd name="T12" fmla="*/ 144 w 860"/>
              <a:gd name="T13" fmla="*/ 394 h 859"/>
              <a:gd name="T14" fmla="*/ 144 w 860"/>
              <a:gd name="T15" fmla="*/ 465 h 859"/>
              <a:gd name="T16" fmla="*/ 215 w 860"/>
              <a:gd name="T17" fmla="*/ 465 h 859"/>
              <a:gd name="T18" fmla="*/ 215 w 860"/>
              <a:gd name="T19" fmla="*/ 394 h 859"/>
              <a:gd name="T20" fmla="*/ 251 w 860"/>
              <a:gd name="T21" fmla="*/ 143 h 859"/>
              <a:gd name="T22" fmla="*/ 394 w 860"/>
              <a:gd name="T23" fmla="*/ 143 h 859"/>
              <a:gd name="T24" fmla="*/ 394 w 860"/>
              <a:gd name="T25" fmla="*/ 71 h 859"/>
              <a:gd name="T26" fmla="*/ 251 w 860"/>
              <a:gd name="T27" fmla="*/ 71 h 859"/>
              <a:gd name="T28" fmla="*/ 251 w 860"/>
              <a:gd name="T29" fmla="*/ 0 h 859"/>
              <a:gd name="T30" fmla="*/ 179 w 860"/>
              <a:gd name="T31" fmla="*/ 0 h 859"/>
              <a:gd name="T32" fmla="*/ 179 w 860"/>
              <a:gd name="T33" fmla="*/ 179 h 859"/>
              <a:gd name="T34" fmla="*/ 251 w 860"/>
              <a:gd name="T35" fmla="*/ 179 h 859"/>
              <a:gd name="T36" fmla="*/ 251 w 860"/>
              <a:gd name="T37" fmla="*/ 143 h 859"/>
              <a:gd name="T38" fmla="*/ 215 w 860"/>
              <a:gd name="T39" fmla="*/ 250 h 859"/>
              <a:gd name="T40" fmla="*/ 144 w 860"/>
              <a:gd name="T41" fmla="*/ 250 h 859"/>
              <a:gd name="T42" fmla="*/ 144 w 860"/>
              <a:gd name="T43" fmla="*/ 322 h 859"/>
              <a:gd name="T44" fmla="*/ 215 w 860"/>
              <a:gd name="T45" fmla="*/ 322 h 859"/>
              <a:gd name="T46" fmla="*/ 215 w 860"/>
              <a:gd name="T47" fmla="*/ 250 h 859"/>
              <a:gd name="T48" fmla="*/ 609 w 860"/>
              <a:gd name="T49" fmla="*/ 429 h 859"/>
              <a:gd name="T50" fmla="*/ 537 w 860"/>
              <a:gd name="T51" fmla="*/ 429 h 859"/>
              <a:gd name="T52" fmla="*/ 537 w 860"/>
              <a:gd name="T53" fmla="*/ 588 h 859"/>
              <a:gd name="T54" fmla="*/ 620 w 860"/>
              <a:gd name="T55" fmla="*/ 670 h 859"/>
              <a:gd name="T56" fmla="*/ 670 w 860"/>
              <a:gd name="T57" fmla="*/ 619 h 859"/>
              <a:gd name="T58" fmla="*/ 609 w 860"/>
              <a:gd name="T59" fmla="*/ 558 h 859"/>
              <a:gd name="T60" fmla="*/ 609 w 860"/>
              <a:gd name="T61" fmla="*/ 429 h 859"/>
              <a:gd name="T62" fmla="*/ 573 w 860"/>
              <a:gd name="T63" fmla="*/ 788 h 859"/>
              <a:gd name="T64" fmla="*/ 358 w 860"/>
              <a:gd name="T65" fmla="*/ 573 h 859"/>
              <a:gd name="T66" fmla="*/ 573 w 860"/>
              <a:gd name="T67" fmla="*/ 358 h 859"/>
              <a:gd name="T68" fmla="*/ 788 w 860"/>
              <a:gd name="T69" fmla="*/ 573 h 859"/>
              <a:gd name="T70" fmla="*/ 573 w 860"/>
              <a:gd name="T71" fmla="*/ 788 h 859"/>
              <a:gd name="T72" fmla="*/ 712 w 860"/>
              <a:gd name="T73" fmla="*/ 322 h 859"/>
              <a:gd name="T74" fmla="*/ 716 w 860"/>
              <a:gd name="T75" fmla="*/ 322 h 859"/>
              <a:gd name="T76" fmla="*/ 716 w 860"/>
              <a:gd name="T77" fmla="*/ 71 h 859"/>
              <a:gd name="T78" fmla="*/ 537 w 860"/>
              <a:gd name="T79" fmla="*/ 71 h 859"/>
              <a:gd name="T80" fmla="*/ 537 w 860"/>
              <a:gd name="T81" fmla="*/ 0 h 859"/>
              <a:gd name="T82" fmla="*/ 466 w 860"/>
              <a:gd name="T83" fmla="*/ 0 h 859"/>
              <a:gd name="T84" fmla="*/ 466 w 860"/>
              <a:gd name="T85" fmla="*/ 179 h 859"/>
              <a:gd name="T86" fmla="*/ 537 w 860"/>
              <a:gd name="T87" fmla="*/ 179 h 859"/>
              <a:gd name="T88" fmla="*/ 537 w 860"/>
              <a:gd name="T89" fmla="*/ 143 h 859"/>
              <a:gd name="T90" fmla="*/ 645 w 860"/>
              <a:gd name="T91" fmla="*/ 143 h 859"/>
              <a:gd name="T92" fmla="*/ 645 w 860"/>
              <a:gd name="T93" fmla="*/ 296 h 859"/>
              <a:gd name="T94" fmla="*/ 573 w 860"/>
              <a:gd name="T95" fmla="*/ 286 h 859"/>
              <a:gd name="T96" fmla="*/ 289 w 860"/>
              <a:gd name="T97" fmla="*/ 537 h 859"/>
              <a:gd name="T98" fmla="*/ 72 w 860"/>
              <a:gd name="T99" fmla="*/ 537 h 859"/>
              <a:gd name="T100" fmla="*/ 72 w 860"/>
              <a:gd name="T101" fmla="*/ 143 h 859"/>
              <a:gd name="T102" fmla="*/ 108 w 860"/>
              <a:gd name="T103" fmla="*/ 143 h 859"/>
              <a:gd name="T104" fmla="*/ 108 w 860"/>
              <a:gd name="T105" fmla="*/ 71 h 859"/>
              <a:gd name="T106" fmla="*/ 0 w 860"/>
              <a:gd name="T107" fmla="*/ 71 h 859"/>
              <a:gd name="T108" fmla="*/ 0 w 860"/>
              <a:gd name="T109" fmla="*/ 609 h 859"/>
              <a:gd name="T110" fmla="*/ 289 w 860"/>
              <a:gd name="T111" fmla="*/ 609 h 859"/>
              <a:gd name="T112" fmla="*/ 573 w 860"/>
              <a:gd name="T113" fmla="*/ 859 h 859"/>
              <a:gd name="T114" fmla="*/ 860 w 860"/>
              <a:gd name="T115" fmla="*/ 573 h 859"/>
              <a:gd name="T116" fmla="*/ 712 w 860"/>
              <a:gd name="T117" fmla="*/ 322 h 8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860" h="859">
                <a:moveTo>
                  <a:pt x="358" y="322"/>
                </a:moveTo>
                <a:lnTo>
                  <a:pt x="358" y="250"/>
                </a:lnTo>
                <a:lnTo>
                  <a:pt x="287" y="250"/>
                </a:lnTo>
                <a:lnTo>
                  <a:pt x="287" y="322"/>
                </a:lnTo>
                <a:lnTo>
                  <a:pt x="358" y="322"/>
                </a:lnTo>
                <a:close/>
                <a:moveTo>
                  <a:pt x="215" y="394"/>
                </a:moveTo>
                <a:lnTo>
                  <a:pt x="144" y="394"/>
                </a:lnTo>
                <a:lnTo>
                  <a:pt x="144" y="465"/>
                </a:lnTo>
                <a:lnTo>
                  <a:pt x="215" y="465"/>
                </a:lnTo>
                <a:lnTo>
                  <a:pt x="215" y="394"/>
                </a:lnTo>
                <a:close/>
                <a:moveTo>
                  <a:pt x="251" y="143"/>
                </a:moveTo>
                <a:lnTo>
                  <a:pt x="394" y="143"/>
                </a:lnTo>
                <a:lnTo>
                  <a:pt x="394" y="71"/>
                </a:lnTo>
                <a:lnTo>
                  <a:pt x="251" y="71"/>
                </a:lnTo>
                <a:lnTo>
                  <a:pt x="251" y="0"/>
                </a:lnTo>
                <a:lnTo>
                  <a:pt x="179" y="0"/>
                </a:lnTo>
                <a:lnTo>
                  <a:pt x="179" y="179"/>
                </a:lnTo>
                <a:lnTo>
                  <a:pt x="251" y="179"/>
                </a:lnTo>
                <a:lnTo>
                  <a:pt x="251" y="143"/>
                </a:lnTo>
                <a:close/>
                <a:moveTo>
                  <a:pt x="215" y="250"/>
                </a:moveTo>
                <a:lnTo>
                  <a:pt x="144" y="250"/>
                </a:lnTo>
                <a:lnTo>
                  <a:pt x="144" y="322"/>
                </a:lnTo>
                <a:lnTo>
                  <a:pt x="215" y="322"/>
                </a:lnTo>
                <a:lnTo>
                  <a:pt x="215" y="250"/>
                </a:lnTo>
                <a:close/>
                <a:moveTo>
                  <a:pt x="609" y="429"/>
                </a:moveTo>
                <a:lnTo>
                  <a:pt x="537" y="429"/>
                </a:lnTo>
                <a:lnTo>
                  <a:pt x="537" y="588"/>
                </a:lnTo>
                <a:lnTo>
                  <a:pt x="620" y="670"/>
                </a:lnTo>
                <a:lnTo>
                  <a:pt x="670" y="619"/>
                </a:lnTo>
                <a:lnTo>
                  <a:pt x="609" y="558"/>
                </a:lnTo>
                <a:lnTo>
                  <a:pt x="609" y="429"/>
                </a:lnTo>
                <a:close/>
                <a:moveTo>
                  <a:pt x="573" y="788"/>
                </a:moveTo>
                <a:cubicBezTo>
                  <a:pt x="455" y="788"/>
                  <a:pt x="358" y="691"/>
                  <a:pt x="358" y="573"/>
                </a:cubicBezTo>
                <a:cubicBezTo>
                  <a:pt x="358" y="454"/>
                  <a:pt x="455" y="358"/>
                  <a:pt x="573" y="358"/>
                </a:cubicBezTo>
                <a:cubicBezTo>
                  <a:pt x="692" y="358"/>
                  <a:pt x="788" y="454"/>
                  <a:pt x="788" y="573"/>
                </a:cubicBezTo>
                <a:cubicBezTo>
                  <a:pt x="788" y="691"/>
                  <a:pt x="692" y="788"/>
                  <a:pt x="573" y="788"/>
                </a:cubicBezTo>
                <a:close/>
                <a:moveTo>
                  <a:pt x="712" y="322"/>
                </a:moveTo>
                <a:lnTo>
                  <a:pt x="716" y="322"/>
                </a:lnTo>
                <a:lnTo>
                  <a:pt x="716" y="71"/>
                </a:lnTo>
                <a:lnTo>
                  <a:pt x="537" y="71"/>
                </a:lnTo>
                <a:lnTo>
                  <a:pt x="537" y="0"/>
                </a:lnTo>
                <a:lnTo>
                  <a:pt x="466" y="0"/>
                </a:lnTo>
                <a:lnTo>
                  <a:pt x="466" y="179"/>
                </a:lnTo>
                <a:lnTo>
                  <a:pt x="537" y="179"/>
                </a:lnTo>
                <a:lnTo>
                  <a:pt x="537" y="143"/>
                </a:lnTo>
                <a:lnTo>
                  <a:pt x="645" y="143"/>
                </a:lnTo>
                <a:lnTo>
                  <a:pt x="645" y="296"/>
                </a:lnTo>
                <a:cubicBezTo>
                  <a:pt x="609" y="290"/>
                  <a:pt x="598" y="286"/>
                  <a:pt x="573" y="286"/>
                </a:cubicBezTo>
                <a:cubicBezTo>
                  <a:pt x="427" y="286"/>
                  <a:pt x="307" y="394"/>
                  <a:pt x="289" y="537"/>
                </a:cubicBezTo>
                <a:lnTo>
                  <a:pt x="72" y="537"/>
                </a:lnTo>
                <a:lnTo>
                  <a:pt x="72" y="143"/>
                </a:lnTo>
                <a:lnTo>
                  <a:pt x="108" y="143"/>
                </a:lnTo>
                <a:lnTo>
                  <a:pt x="108" y="71"/>
                </a:lnTo>
                <a:lnTo>
                  <a:pt x="0" y="71"/>
                </a:lnTo>
                <a:lnTo>
                  <a:pt x="0" y="609"/>
                </a:lnTo>
                <a:lnTo>
                  <a:pt x="289" y="609"/>
                </a:lnTo>
                <a:cubicBezTo>
                  <a:pt x="307" y="752"/>
                  <a:pt x="427" y="859"/>
                  <a:pt x="573" y="859"/>
                </a:cubicBezTo>
                <a:cubicBezTo>
                  <a:pt x="731" y="859"/>
                  <a:pt x="860" y="731"/>
                  <a:pt x="860" y="573"/>
                </a:cubicBezTo>
                <a:cubicBezTo>
                  <a:pt x="860" y="465"/>
                  <a:pt x="800" y="358"/>
                  <a:pt x="712" y="32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grpSp>
        <p:nvGrpSpPr>
          <p:cNvPr id="95" name="Группа 94"/>
          <p:cNvGrpSpPr/>
          <p:nvPr/>
        </p:nvGrpSpPr>
        <p:grpSpPr>
          <a:xfrm>
            <a:off x="8041917" y="469017"/>
            <a:ext cx="2017985" cy="702356"/>
            <a:chOff x="6031437" y="443121"/>
            <a:chExt cx="1513489" cy="526767"/>
          </a:xfrm>
        </p:grpSpPr>
        <p:sp>
          <p:nvSpPr>
            <p:cNvPr id="78" name="Freeform 56"/>
            <p:cNvSpPr>
              <a:spLocks/>
            </p:cNvSpPr>
            <p:nvPr/>
          </p:nvSpPr>
          <p:spPr bwMode="auto">
            <a:xfrm>
              <a:off x="6038192" y="692998"/>
              <a:ext cx="576569" cy="31516"/>
            </a:xfrm>
            <a:custGeom>
              <a:avLst/>
              <a:gdLst>
                <a:gd name="T0" fmla="*/ 1111 w 1116"/>
                <a:gd name="T1" fmla="*/ 0 h 60"/>
                <a:gd name="T2" fmla="*/ 0 w 1116"/>
                <a:gd name="T3" fmla="*/ 0 h 60"/>
                <a:gd name="T4" fmla="*/ 0 w 1116"/>
                <a:gd name="T5" fmla="*/ 60 h 60"/>
                <a:gd name="T6" fmla="*/ 1116 w 1116"/>
                <a:gd name="T7" fmla="*/ 60 h 60"/>
                <a:gd name="T8" fmla="*/ 1111 w 1116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6" h="60">
                  <a:moveTo>
                    <a:pt x="1111" y="0"/>
                  </a:moveTo>
                  <a:lnTo>
                    <a:pt x="0" y="0"/>
                  </a:lnTo>
                  <a:lnTo>
                    <a:pt x="0" y="60"/>
                  </a:lnTo>
                  <a:lnTo>
                    <a:pt x="1116" y="60"/>
                  </a:lnTo>
                  <a:lnTo>
                    <a:pt x="111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79" name="Freeform 57"/>
            <p:cNvSpPr>
              <a:spLocks/>
            </p:cNvSpPr>
            <p:nvPr/>
          </p:nvSpPr>
          <p:spPr bwMode="auto">
            <a:xfrm>
              <a:off x="6963853" y="692998"/>
              <a:ext cx="574315" cy="31516"/>
            </a:xfrm>
            <a:custGeom>
              <a:avLst/>
              <a:gdLst>
                <a:gd name="T0" fmla="*/ 1116 w 1116"/>
                <a:gd name="T1" fmla="*/ 0 h 60"/>
                <a:gd name="T2" fmla="*/ 5 w 1116"/>
                <a:gd name="T3" fmla="*/ 0 h 60"/>
                <a:gd name="T4" fmla="*/ 0 w 1116"/>
                <a:gd name="T5" fmla="*/ 60 h 60"/>
                <a:gd name="T6" fmla="*/ 1116 w 1116"/>
                <a:gd name="T7" fmla="*/ 60 h 60"/>
                <a:gd name="T8" fmla="*/ 1116 w 1116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6" h="60">
                  <a:moveTo>
                    <a:pt x="1116" y="0"/>
                  </a:moveTo>
                  <a:lnTo>
                    <a:pt x="5" y="0"/>
                  </a:lnTo>
                  <a:lnTo>
                    <a:pt x="0" y="60"/>
                  </a:lnTo>
                  <a:lnTo>
                    <a:pt x="1116" y="60"/>
                  </a:lnTo>
                  <a:lnTo>
                    <a:pt x="111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0" name="Freeform 58"/>
            <p:cNvSpPr>
              <a:spLocks/>
            </p:cNvSpPr>
            <p:nvPr/>
          </p:nvSpPr>
          <p:spPr bwMode="auto">
            <a:xfrm>
              <a:off x="6031437" y="812309"/>
              <a:ext cx="132880" cy="123812"/>
            </a:xfrm>
            <a:custGeom>
              <a:avLst/>
              <a:gdLst>
                <a:gd name="T0" fmla="*/ 0 w 258"/>
                <a:gd name="T1" fmla="*/ 10 h 239"/>
                <a:gd name="T2" fmla="*/ 33 w 258"/>
                <a:gd name="T3" fmla="*/ 19 h 239"/>
                <a:gd name="T4" fmla="*/ 33 w 258"/>
                <a:gd name="T5" fmla="*/ 216 h 239"/>
                <a:gd name="T6" fmla="*/ 0 w 258"/>
                <a:gd name="T7" fmla="*/ 225 h 239"/>
                <a:gd name="T8" fmla="*/ 0 w 258"/>
                <a:gd name="T9" fmla="*/ 239 h 239"/>
                <a:gd name="T10" fmla="*/ 112 w 258"/>
                <a:gd name="T11" fmla="*/ 239 h 239"/>
                <a:gd name="T12" fmla="*/ 112 w 258"/>
                <a:gd name="T13" fmla="*/ 225 h 239"/>
                <a:gd name="T14" fmla="*/ 80 w 258"/>
                <a:gd name="T15" fmla="*/ 216 h 239"/>
                <a:gd name="T16" fmla="*/ 80 w 258"/>
                <a:gd name="T17" fmla="*/ 24 h 239"/>
                <a:gd name="T18" fmla="*/ 173 w 258"/>
                <a:gd name="T19" fmla="*/ 24 h 239"/>
                <a:gd name="T20" fmla="*/ 173 w 258"/>
                <a:gd name="T21" fmla="*/ 216 h 239"/>
                <a:gd name="T22" fmla="*/ 145 w 258"/>
                <a:gd name="T23" fmla="*/ 225 h 239"/>
                <a:gd name="T24" fmla="*/ 145 w 258"/>
                <a:gd name="T25" fmla="*/ 239 h 239"/>
                <a:gd name="T26" fmla="*/ 258 w 258"/>
                <a:gd name="T27" fmla="*/ 239 h 239"/>
                <a:gd name="T28" fmla="*/ 258 w 258"/>
                <a:gd name="T29" fmla="*/ 225 h 239"/>
                <a:gd name="T30" fmla="*/ 225 w 258"/>
                <a:gd name="T31" fmla="*/ 216 h 239"/>
                <a:gd name="T32" fmla="*/ 225 w 258"/>
                <a:gd name="T33" fmla="*/ 19 h 239"/>
                <a:gd name="T34" fmla="*/ 258 w 258"/>
                <a:gd name="T35" fmla="*/ 10 h 239"/>
                <a:gd name="T36" fmla="*/ 258 w 258"/>
                <a:gd name="T37" fmla="*/ 0 h 239"/>
                <a:gd name="T38" fmla="*/ 0 w 258"/>
                <a:gd name="T39" fmla="*/ 0 h 239"/>
                <a:gd name="T40" fmla="*/ 0 w 258"/>
                <a:gd name="T41" fmla="*/ 1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8" h="239">
                  <a:moveTo>
                    <a:pt x="0" y="10"/>
                  </a:moveTo>
                  <a:lnTo>
                    <a:pt x="33" y="19"/>
                  </a:lnTo>
                  <a:lnTo>
                    <a:pt x="33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12" y="239"/>
                  </a:lnTo>
                  <a:lnTo>
                    <a:pt x="112" y="225"/>
                  </a:lnTo>
                  <a:lnTo>
                    <a:pt x="80" y="216"/>
                  </a:lnTo>
                  <a:lnTo>
                    <a:pt x="80" y="24"/>
                  </a:lnTo>
                  <a:lnTo>
                    <a:pt x="173" y="24"/>
                  </a:lnTo>
                  <a:lnTo>
                    <a:pt x="173" y="216"/>
                  </a:lnTo>
                  <a:lnTo>
                    <a:pt x="145" y="225"/>
                  </a:lnTo>
                  <a:lnTo>
                    <a:pt x="145" y="239"/>
                  </a:lnTo>
                  <a:lnTo>
                    <a:pt x="258" y="239"/>
                  </a:lnTo>
                  <a:lnTo>
                    <a:pt x="258" y="225"/>
                  </a:lnTo>
                  <a:lnTo>
                    <a:pt x="225" y="216"/>
                  </a:lnTo>
                  <a:lnTo>
                    <a:pt x="225" y="19"/>
                  </a:lnTo>
                  <a:lnTo>
                    <a:pt x="258" y="10"/>
                  </a:lnTo>
                  <a:lnTo>
                    <a:pt x="258" y="0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1" name="Freeform 59"/>
            <p:cNvSpPr>
              <a:spLocks noEditPoints="1"/>
            </p:cNvSpPr>
            <p:nvPr/>
          </p:nvSpPr>
          <p:spPr bwMode="auto">
            <a:xfrm>
              <a:off x="6189091" y="812309"/>
              <a:ext cx="90089" cy="123812"/>
            </a:xfrm>
            <a:custGeom>
              <a:avLst/>
              <a:gdLst>
                <a:gd name="T0" fmla="*/ 108 w 173"/>
                <a:gd name="T1" fmla="*/ 0 h 239"/>
                <a:gd name="T2" fmla="*/ 98 w 173"/>
                <a:gd name="T3" fmla="*/ 0 h 239"/>
                <a:gd name="T4" fmla="*/ 0 w 173"/>
                <a:gd name="T5" fmla="*/ 0 h 239"/>
                <a:gd name="T6" fmla="*/ 0 w 173"/>
                <a:gd name="T7" fmla="*/ 10 h 239"/>
                <a:gd name="T8" fmla="*/ 28 w 173"/>
                <a:gd name="T9" fmla="*/ 19 h 239"/>
                <a:gd name="T10" fmla="*/ 28 w 173"/>
                <a:gd name="T11" fmla="*/ 216 h 239"/>
                <a:gd name="T12" fmla="*/ 0 w 173"/>
                <a:gd name="T13" fmla="*/ 225 h 239"/>
                <a:gd name="T14" fmla="*/ 0 w 173"/>
                <a:gd name="T15" fmla="*/ 239 h 239"/>
                <a:gd name="T16" fmla="*/ 98 w 173"/>
                <a:gd name="T17" fmla="*/ 239 h 239"/>
                <a:gd name="T18" fmla="*/ 112 w 173"/>
                <a:gd name="T19" fmla="*/ 239 h 239"/>
                <a:gd name="T20" fmla="*/ 112 w 173"/>
                <a:gd name="T21" fmla="*/ 225 h 239"/>
                <a:gd name="T22" fmla="*/ 98 w 173"/>
                <a:gd name="T23" fmla="*/ 221 h 239"/>
                <a:gd name="T24" fmla="*/ 70 w 173"/>
                <a:gd name="T25" fmla="*/ 216 h 239"/>
                <a:gd name="T26" fmla="*/ 70 w 173"/>
                <a:gd name="T27" fmla="*/ 136 h 239"/>
                <a:gd name="T28" fmla="*/ 89 w 173"/>
                <a:gd name="T29" fmla="*/ 136 h 239"/>
                <a:gd name="T30" fmla="*/ 98 w 173"/>
                <a:gd name="T31" fmla="*/ 136 h 239"/>
                <a:gd name="T32" fmla="*/ 131 w 173"/>
                <a:gd name="T33" fmla="*/ 132 h 239"/>
                <a:gd name="T34" fmla="*/ 154 w 173"/>
                <a:gd name="T35" fmla="*/ 117 h 239"/>
                <a:gd name="T36" fmla="*/ 169 w 173"/>
                <a:gd name="T37" fmla="*/ 94 h 239"/>
                <a:gd name="T38" fmla="*/ 173 w 173"/>
                <a:gd name="T39" fmla="*/ 61 h 239"/>
                <a:gd name="T40" fmla="*/ 164 w 173"/>
                <a:gd name="T41" fmla="*/ 33 h 239"/>
                <a:gd name="T42" fmla="*/ 154 w 173"/>
                <a:gd name="T43" fmla="*/ 14 h 239"/>
                <a:gd name="T44" fmla="*/ 131 w 173"/>
                <a:gd name="T45" fmla="*/ 0 h 239"/>
                <a:gd name="T46" fmla="*/ 108 w 173"/>
                <a:gd name="T47" fmla="*/ 0 h 239"/>
                <a:gd name="T48" fmla="*/ 98 w 173"/>
                <a:gd name="T49" fmla="*/ 122 h 239"/>
                <a:gd name="T50" fmla="*/ 98 w 173"/>
                <a:gd name="T51" fmla="*/ 122 h 239"/>
                <a:gd name="T52" fmla="*/ 84 w 173"/>
                <a:gd name="T53" fmla="*/ 122 h 239"/>
                <a:gd name="T54" fmla="*/ 70 w 173"/>
                <a:gd name="T55" fmla="*/ 122 h 239"/>
                <a:gd name="T56" fmla="*/ 70 w 173"/>
                <a:gd name="T57" fmla="*/ 14 h 239"/>
                <a:gd name="T58" fmla="*/ 84 w 173"/>
                <a:gd name="T59" fmla="*/ 14 h 239"/>
                <a:gd name="T60" fmla="*/ 89 w 173"/>
                <a:gd name="T61" fmla="*/ 14 h 239"/>
                <a:gd name="T62" fmla="*/ 98 w 173"/>
                <a:gd name="T63" fmla="*/ 19 h 239"/>
                <a:gd name="T64" fmla="*/ 108 w 173"/>
                <a:gd name="T65" fmla="*/ 24 h 239"/>
                <a:gd name="T66" fmla="*/ 117 w 173"/>
                <a:gd name="T67" fmla="*/ 33 h 239"/>
                <a:gd name="T68" fmla="*/ 122 w 173"/>
                <a:gd name="T69" fmla="*/ 47 h 239"/>
                <a:gd name="T70" fmla="*/ 126 w 173"/>
                <a:gd name="T71" fmla="*/ 71 h 239"/>
                <a:gd name="T72" fmla="*/ 122 w 173"/>
                <a:gd name="T73" fmla="*/ 103 h 239"/>
                <a:gd name="T74" fmla="*/ 112 w 173"/>
                <a:gd name="T75" fmla="*/ 113 h 239"/>
                <a:gd name="T76" fmla="*/ 98 w 173"/>
                <a:gd name="T77" fmla="*/ 122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73" h="239">
                  <a:moveTo>
                    <a:pt x="108" y="0"/>
                  </a:moveTo>
                  <a:lnTo>
                    <a:pt x="98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98" y="239"/>
                  </a:lnTo>
                  <a:lnTo>
                    <a:pt x="112" y="239"/>
                  </a:lnTo>
                  <a:lnTo>
                    <a:pt x="112" y="225"/>
                  </a:lnTo>
                  <a:lnTo>
                    <a:pt x="98" y="221"/>
                  </a:lnTo>
                  <a:lnTo>
                    <a:pt x="70" y="216"/>
                  </a:lnTo>
                  <a:lnTo>
                    <a:pt x="70" y="136"/>
                  </a:lnTo>
                  <a:lnTo>
                    <a:pt x="89" y="136"/>
                  </a:lnTo>
                  <a:lnTo>
                    <a:pt x="98" y="136"/>
                  </a:lnTo>
                  <a:lnTo>
                    <a:pt x="131" y="132"/>
                  </a:lnTo>
                  <a:lnTo>
                    <a:pt x="154" y="117"/>
                  </a:lnTo>
                  <a:lnTo>
                    <a:pt x="169" y="94"/>
                  </a:lnTo>
                  <a:lnTo>
                    <a:pt x="173" y="61"/>
                  </a:lnTo>
                  <a:lnTo>
                    <a:pt x="164" y="33"/>
                  </a:lnTo>
                  <a:lnTo>
                    <a:pt x="154" y="14"/>
                  </a:lnTo>
                  <a:lnTo>
                    <a:pt x="131" y="0"/>
                  </a:lnTo>
                  <a:lnTo>
                    <a:pt x="108" y="0"/>
                  </a:lnTo>
                  <a:close/>
                  <a:moveTo>
                    <a:pt x="98" y="122"/>
                  </a:moveTo>
                  <a:lnTo>
                    <a:pt x="98" y="122"/>
                  </a:lnTo>
                  <a:lnTo>
                    <a:pt x="84" y="122"/>
                  </a:lnTo>
                  <a:lnTo>
                    <a:pt x="70" y="122"/>
                  </a:lnTo>
                  <a:lnTo>
                    <a:pt x="70" y="14"/>
                  </a:lnTo>
                  <a:lnTo>
                    <a:pt x="84" y="14"/>
                  </a:lnTo>
                  <a:lnTo>
                    <a:pt x="89" y="14"/>
                  </a:lnTo>
                  <a:lnTo>
                    <a:pt x="98" y="19"/>
                  </a:lnTo>
                  <a:lnTo>
                    <a:pt x="108" y="24"/>
                  </a:lnTo>
                  <a:lnTo>
                    <a:pt x="117" y="33"/>
                  </a:lnTo>
                  <a:lnTo>
                    <a:pt x="122" y="47"/>
                  </a:lnTo>
                  <a:lnTo>
                    <a:pt x="126" y="71"/>
                  </a:lnTo>
                  <a:lnTo>
                    <a:pt x="122" y="103"/>
                  </a:lnTo>
                  <a:lnTo>
                    <a:pt x="112" y="113"/>
                  </a:lnTo>
                  <a:lnTo>
                    <a:pt x="98" y="1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2" name="Freeform 60"/>
            <p:cNvSpPr>
              <a:spLocks noEditPoints="1"/>
            </p:cNvSpPr>
            <p:nvPr/>
          </p:nvSpPr>
          <p:spPr bwMode="auto">
            <a:xfrm>
              <a:off x="6301702" y="810057"/>
              <a:ext cx="121619" cy="126063"/>
            </a:xfrm>
            <a:custGeom>
              <a:avLst/>
              <a:gdLst>
                <a:gd name="T0" fmla="*/ 117 w 235"/>
                <a:gd name="T1" fmla="*/ 0 h 243"/>
                <a:gd name="T2" fmla="*/ 113 w 235"/>
                <a:gd name="T3" fmla="*/ 0 h 243"/>
                <a:gd name="T4" fmla="*/ 66 w 235"/>
                <a:gd name="T5" fmla="*/ 4 h 243"/>
                <a:gd name="T6" fmla="*/ 28 w 235"/>
                <a:gd name="T7" fmla="*/ 28 h 243"/>
                <a:gd name="T8" fmla="*/ 5 w 235"/>
                <a:gd name="T9" fmla="*/ 65 h 243"/>
                <a:gd name="T10" fmla="*/ 0 w 235"/>
                <a:gd name="T11" fmla="*/ 117 h 243"/>
                <a:gd name="T12" fmla="*/ 5 w 235"/>
                <a:gd name="T13" fmla="*/ 173 h 243"/>
                <a:gd name="T14" fmla="*/ 28 w 235"/>
                <a:gd name="T15" fmla="*/ 211 h 243"/>
                <a:gd name="T16" fmla="*/ 66 w 235"/>
                <a:gd name="T17" fmla="*/ 234 h 243"/>
                <a:gd name="T18" fmla="*/ 113 w 235"/>
                <a:gd name="T19" fmla="*/ 243 h 243"/>
                <a:gd name="T20" fmla="*/ 117 w 235"/>
                <a:gd name="T21" fmla="*/ 243 h 243"/>
                <a:gd name="T22" fmla="*/ 164 w 235"/>
                <a:gd name="T23" fmla="*/ 234 h 243"/>
                <a:gd name="T24" fmla="*/ 202 w 235"/>
                <a:gd name="T25" fmla="*/ 211 h 243"/>
                <a:gd name="T26" fmla="*/ 225 w 235"/>
                <a:gd name="T27" fmla="*/ 173 h 243"/>
                <a:gd name="T28" fmla="*/ 235 w 235"/>
                <a:gd name="T29" fmla="*/ 117 h 243"/>
                <a:gd name="T30" fmla="*/ 225 w 235"/>
                <a:gd name="T31" fmla="*/ 65 h 243"/>
                <a:gd name="T32" fmla="*/ 202 w 235"/>
                <a:gd name="T33" fmla="*/ 28 h 243"/>
                <a:gd name="T34" fmla="*/ 164 w 235"/>
                <a:gd name="T35" fmla="*/ 4 h 243"/>
                <a:gd name="T36" fmla="*/ 117 w 235"/>
                <a:gd name="T37" fmla="*/ 0 h 243"/>
                <a:gd name="T38" fmla="*/ 117 w 235"/>
                <a:gd name="T39" fmla="*/ 229 h 243"/>
                <a:gd name="T40" fmla="*/ 117 w 235"/>
                <a:gd name="T41" fmla="*/ 229 h 243"/>
                <a:gd name="T42" fmla="*/ 113 w 235"/>
                <a:gd name="T43" fmla="*/ 229 h 243"/>
                <a:gd name="T44" fmla="*/ 89 w 235"/>
                <a:gd name="T45" fmla="*/ 220 h 243"/>
                <a:gd name="T46" fmla="*/ 70 w 235"/>
                <a:gd name="T47" fmla="*/ 201 h 243"/>
                <a:gd name="T48" fmla="*/ 56 w 235"/>
                <a:gd name="T49" fmla="*/ 164 h 243"/>
                <a:gd name="T50" fmla="*/ 52 w 235"/>
                <a:gd name="T51" fmla="*/ 140 h 243"/>
                <a:gd name="T52" fmla="*/ 52 w 235"/>
                <a:gd name="T53" fmla="*/ 112 h 243"/>
                <a:gd name="T54" fmla="*/ 56 w 235"/>
                <a:gd name="T55" fmla="*/ 65 h 243"/>
                <a:gd name="T56" fmla="*/ 70 w 235"/>
                <a:gd name="T57" fmla="*/ 37 h 243"/>
                <a:gd name="T58" fmla="*/ 89 w 235"/>
                <a:gd name="T59" fmla="*/ 18 h 243"/>
                <a:gd name="T60" fmla="*/ 113 w 235"/>
                <a:gd name="T61" fmla="*/ 9 h 243"/>
                <a:gd name="T62" fmla="*/ 141 w 235"/>
                <a:gd name="T63" fmla="*/ 18 h 243"/>
                <a:gd name="T64" fmla="*/ 160 w 235"/>
                <a:gd name="T65" fmla="*/ 42 h 243"/>
                <a:gd name="T66" fmla="*/ 174 w 235"/>
                <a:gd name="T67" fmla="*/ 75 h 243"/>
                <a:gd name="T68" fmla="*/ 178 w 235"/>
                <a:gd name="T69" fmla="*/ 126 h 243"/>
                <a:gd name="T70" fmla="*/ 174 w 235"/>
                <a:gd name="T71" fmla="*/ 164 h 243"/>
                <a:gd name="T72" fmla="*/ 164 w 235"/>
                <a:gd name="T73" fmla="*/ 197 h 243"/>
                <a:gd name="T74" fmla="*/ 145 w 235"/>
                <a:gd name="T75" fmla="*/ 220 h 243"/>
                <a:gd name="T76" fmla="*/ 131 w 235"/>
                <a:gd name="T77" fmla="*/ 225 h 243"/>
                <a:gd name="T78" fmla="*/ 117 w 235"/>
                <a:gd name="T79" fmla="*/ 229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35" h="243">
                  <a:moveTo>
                    <a:pt x="117" y="0"/>
                  </a:moveTo>
                  <a:lnTo>
                    <a:pt x="113" y="0"/>
                  </a:lnTo>
                  <a:lnTo>
                    <a:pt x="66" y="4"/>
                  </a:lnTo>
                  <a:lnTo>
                    <a:pt x="28" y="28"/>
                  </a:lnTo>
                  <a:lnTo>
                    <a:pt x="5" y="65"/>
                  </a:lnTo>
                  <a:lnTo>
                    <a:pt x="0" y="117"/>
                  </a:lnTo>
                  <a:lnTo>
                    <a:pt x="5" y="173"/>
                  </a:lnTo>
                  <a:lnTo>
                    <a:pt x="28" y="211"/>
                  </a:lnTo>
                  <a:lnTo>
                    <a:pt x="66" y="234"/>
                  </a:lnTo>
                  <a:lnTo>
                    <a:pt x="113" y="243"/>
                  </a:lnTo>
                  <a:lnTo>
                    <a:pt x="117" y="243"/>
                  </a:lnTo>
                  <a:lnTo>
                    <a:pt x="164" y="234"/>
                  </a:lnTo>
                  <a:lnTo>
                    <a:pt x="202" y="211"/>
                  </a:lnTo>
                  <a:lnTo>
                    <a:pt x="225" y="173"/>
                  </a:lnTo>
                  <a:lnTo>
                    <a:pt x="235" y="117"/>
                  </a:lnTo>
                  <a:lnTo>
                    <a:pt x="225" y="65"/>
                  </a:lnTo>
                  <a:lnTo>
                    <a:pt x="202" y="28"/>
                  </a:lnTo>
                  <a:lnTo>
                    <a:pt x="164" y="4"/>
                  </a:lnTo>
                  <a:lnTo>
                    <a:pt x="117" y="0"/>
                  </a:lnTo>
                  <a:close/>
                  <a:moveTo>
                    <a:pt x="117" y="229"/>
                  </a:moveTo>
                  <a:lnTo>
                    <a:pt x="117" y="229"/>
                  </a:lnTo>
                  <a:lnTo>
                    <a:pt x="113" y="229"/>
                  </a:lnTo>
                  <a:lnTo>
                    <a:pt x="89" y="220"/>
                  </a:lnTo>
                  <a:lnTo>
                    <a:pt x="70" y="201"/>
                  </a:lnTo>
                  <a:lnTo>
                    <a:pt x="56" y="164"/>
                  </a:lnTo>
                  <a:lnTo>
                    <a:pt x="52" y="140"/>
                  </a:lnTo>
                  <a:lnTo>
                    <a:pt x="52" y="112"/>
                  </a:lnTo>
                  <a:lnTo>
                    <a:pt x="56" y="65"/>
                  </a:lnTo>
                  <a:lnTo>
                    <a:pt x="70" y="37"/>
                  </a:lnTo>
                  <a:lnTo>
                    <a:pt x="89" y="18"/>
                  </a:lnTo>
                  <a:lnTo>
                    <a:pt x="113" y="9"/>
                  </a:lnTo>
                  <a:lnTo>
                    <a:pt x="141" y="18"/>
                  </a:lnTo>
                  <a:lnTo>
                    <a:pt x="160" y="42"/>
                  </a:lnTo>
                  <a:lnTo>
                    <a:pt x="174" y="75"/>
                  </a:lnTo>
                  <a:lnTo>
                    <a:pt x="178" y="126"/>
                  </a:lnTo>
                  <a:lnTo>
                    <a:pt x="174" y="164"/>
                  </a:lnTo>
                  <a:lnTo>
                    <a:pt x="164" y="197"/>
                  </a:lnTo>
                  <a:lnTo>
                    <a:pt x="145" y="220"/>
                  </a:lnTo>
                  <a:lnTo>
                    <a:pt x="131" y="225"/>
                  </a:lnTo>
                  <a:lnTo>
                    <a:pt x="117" y="2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3" name="Freeform 61"/>
            <p:cNvSpPr>
              <a:spLocks/>
            </p:cNvSpPr>
            <p:nvPr/>
          </p:nvSpPr>
          <p:spPr bwMode="auto">
            <a:xfrm>
              <a:off x="6452601" y="810057"/>
              <a:ext cx="110358" cy="126063"/>
            </a:xfrm>
            <a:custGeom>
              <a:avLst/>
              <a:gdLst>
                <a:gd name="T0" fmla="*/ 136 w 215"/>
                <a:gd name="T1" fmla="*/ 225 h 243"/>
                <a:gd name="T2" fmla="*/ 117 w 215"/>
                <a:gd name="T3" fmla="*/ 225 h 243"/>
                <a:gd name="T4" fmla="*/ 103 w 215"/>
                <a:gd name="T5" fmla="*/ 215 h 243"/>
                <a:gd name="T6" fmla="*/ 75 w 215"/>
                <a:gd name="T7" fmla="*/ 192 h 243"/>
                <a:gd name="T8" fmla="*/ 56 w 215"/>
                <a:gd name="T9" fmla="*/ 154 h 243"/>
                <a:gd name="T10" fmla="*/ 51 w 215"/>
                <a:gd name="T11" fmla="*/ 117 h 243"/>
                <a:gd name="T12" fmla="*/ 56 w 215"/>
                <a:gd name="T13" fmla="*/ 75 h 243"/>
                <a:gd name="T14" fmla="*/ 70 w 215"/>
                <a:gd name="T15" fmla="*/ 42 h 243"/>
                <a:gd name="T16" fmla="*/ 94 w 215"/>
                <a:gd name="T17" fmla="*/ 23 h 243"/>
                <a:gd name="T18" fmla="*/ 126 w 215"/>
                <a:gd name="T19" fmla="*/ 14 h 243"/>
                <a:gd name="T20" fmla="*/ 150 w 215"/>
                <a:gd name="T21" fmla="*/ 18 h 243"/>
                <a:gd name="T22" fmla="*/ 173 w 215"/>
                <a:gd name="T23" fmla="*/ 32 h 243"/>
                <a:gd name="T24" fmla="*/ 187 w 215"/>
                <a:gd name="T25" fmla="*/ 51 h 243"/>
                <a:gd name="T26" fmla="*/ 192 w 215"/>
                <a:gd name="T27" fmla="*/ 75 h 243"/>
                <a:gd name="T28" fmla="*/ 206 w 215"/>
                <a:gd name="T29" fmla="*/ 75 h 243"/>
                <a:gd name="T30" fmla="*/ 206 w 215"/>
                <a:gd name="T31" fmla="*/ 9 h 243"/>
                <a:gd name="T32" fmla="*/ 192 w 215"/>
                <a:gd name="T33" fmla="*/ 9 h 243"/>
                <a:gd name="T34" fmla="*/ 155 w 215"/>
                <a:gd name="T35" fmla="*/ 0 h 243"/>
                <a:gd name="T36" fmla="*/ 122 w 215"/>
                <a:gd name="T37" fmla="*/ 0 h 243"/>
                <a:gd name="T38" fmla="*/ 75 w 215"/>
                <a:gd name="T39" fmla="*/ 4 h 243"/>
                <a:gd name="T40" fmla="*/ 33 w 215"/>
                <a:gd name="T41" fmla="*/ 28 h 243"/>
                <a:gd name="T42" fmla="*/ 9 w 215"/>
                <a:gd name="T43" fmla="*/ 61 h 243"/>
                <a:gd name="T44" fmla="*/ 0 w 215"/>
                <a:gd name="T45" fmla="*/ 84 h 243"/>
                <a:gd name="T46" fmla="*/ 0 w 215"/>
                <a:gd name="T47" fmla="*/ 112 h 243"/>
                <a:gd name="T48" fmla="*/ 0 w 215"/>
                <a:gd name="T49" fmla="*/ 140 h 243"/>
                <a:gd name="T50" fmla="*/ 4 w 215"/>
                <a:gd name="T51" fmla="*/ 168 h 243"/>
                <a:gd name="T52" fmla="*/ 33 w 215"/>
                <a:gd name="T53" fmla="*/ 206 h 243"/>
                <a:gd name="T54" fmla="*/ 70 w 215"/>
                <a:gd name="T55" fmla="*/ 234 h 243"/>
                <a:gd name="T56" fmla="*/ 122 w 215"/>
                <a:gd name="T57" fmla="*/ 243 h 243"/>
                <a:gd name="T58" fmla="*/ 155 w 215"/>
                <a:gd name="T59" fmla="*/ 239 h 243"/>
                <a:gd name="T60" fmla="*/ 178 w 215"/>
                <a:gd name="T61" fmla="*/ 234 h 243"/>
                <a:gd name="T62" fmla="*/ 197 w 215"/>
                <a:gd name="T63" fmla="*/ 225 h 243"/>
                <a:gd name="T64" fmla="*/ 215 w 215"/>
                <a:gd name="T65" fmla="*/ 220 h 243"/>
                <a:gd name="T66" fmla="*/ 215 w 215"/>
                <a:gd name="T67" fmla="*/ 182 h 243"/>
                <a:gd name="T68" fmla="*/ 206 w 215"/>
                <a:gd name="T69" fmla="*/ 182 h 243"/>
                <a:gd name="T70" fmla="*/ 197 w 215"/>
                <a:gd name="T71" fmla="*/ 201 h 243"/>
                <a:gd name="T72" fmla="*/ 178 w 215"/>
                <a:gd name="T73" fmla="*/ 215 h 243"/>
                <a:gd name="T74" fmla="*/ 159 w 215"/>
                <a:gd name="T75" fmla="*/ 225 h 243"/>
                <a:gd name="T76" fmla="*/ 136 w 215"/>
                <a:gd name="T77" fmla="*/ 225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15" h="243">
                  <a:moveTo>
                    <a:pt x="136" y="225"/>
                  </a:moveTo>
                  <a:lnTo>
                    <a:pt x="117" y="225"/>
                  </a:lnTo>
                  <a:lnTo>
                    <a:pt x="103" y="215"/>
                  </a:lnTo>
                  <a:lnTo>
                    <a:pt x="75" y="192"/>
                  </a:lnTo>
                  <a:lnTo>
                    <a:pt x="56" y="154"/>
                  </a:lnTo>
                  <a:lnTo>
                    <a:pt x="51" y="117"/>
                  </a:lnTo>
                  <a:lnTo>
                    <a:pt x="56" y="75"/>
                  </a:lnTo>
                  <a:lnTo>
                    <a:pt x="70" y="42"/>
                  </a:lnTo>
                  <a:lnTo>
                    <a:pt x="94" y="23"/>
                  </a:lnTo>
                  <a:lnTo>
                    <a:pt x="126" y="14"/>
                  </a:lnTo>
                  <a:lnTo>
                    <a:pt x="150" y="18"/>
                  </a:lnTo>
                  <a:lnTo>
                    <a:pt x="173" y="32"/>
                  </a:lnTo>
                  <a:lnTo>
                    <a:pt x="187" y="51"/>
                  </a:lnTo>
                  <a:lnTo>
                    <a:pt x="192" y="75"/>
                  </a:lnTo>
                  <a:lnTo>
                    <a:pt x="206" y="75"/>
                  </a:lnTo>
                  <a:lnTo>
                    <a:pt x="206" y="9"/>
                  </a:lnTo>
                  <a:lnTo>
                    <a:pt x="192" y="9"/>
                  </a:lnTo>
                  <a:lnTo>
                    <a:pt x="155" y="0"/>
                  </a:lnTo>
                  <a:lnTo>
                    <a:pt x="122" y="0"/>
                  </a:lnTo>
                  <a:lnTo>
                    <a:pt x="75" y="4"/>
                  </a:lnTo>
                  <a:lnTo>
                    <a:pt x="33" y="28"/>
                  </a:lnTo>
                  <a:lnTo>
                    <a:pt x="9" y="61"/>
                  </a:lnTo>
                  <a:lnTo>
                    <a:pt x="0" y="84"/>
                  </a:lnTo>
                  <a:lnTo>
                    <a:pt x="0" y="112"/>
                  </a:lnTo>
                  <a:lnTo>
                    <a:pt x="0" y="140"/>
                  </a:lnTo>
                  <a:lnTo>
                    <a:pt x="4" y="168"/>
                  </a:lnTo>
                  <a:lnTo>
                    <a:pt x="33" y="206"/>
                  </a:lnTo>
                  <a:lnTo>
                    <a:pt x="70" y="234"/>
                  </a:lnTo>
                  <a:lnTo>
                    <a:pt x="122" y="243"/>
                  </a:lnTo>
                  <a:lnTo>
                    <a:pt x="155" y="239"/>
                  </a:lnTo>
                  <a:lnTo>
                    <a:pt x="178" y="234"/>
                  </a:lnTo>
                  <a:lnTo>
                    <a:pt x="197" y="225"/>
                  </a:lnTo>
                  <a:lnTo>
                    <a:pt x="215" y="220"/>
                  </a:lnTo>
                  <a:lnTo>
                    <a:pt x="215" y="182"/>
                  </a:lnTo>
                  <a:lnTo>
                    <a:pt x="206" y="182"/>
                  </a:lnTo>
                  <a:lnTo>
                    <a:pt x="197" y="201"/>
                  </a:lnTo>
                  <a:lnTo>
                    <a:pt x="178" y="215"/>
                  </a:lnTo>
                  <a:lnTo>
                    <a:pt x="159" y="225"/>
                  </a:lnTo>
                  <a:lnTo>
                    <a:pt x="136" y="22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4" name="Freeform 62"/>
            <p:cNvSpPr>
              <a:spLocks noEditPoints="1"/>
            </p:cNvSpPr>
            <p:nvPr/>
          </p:nvSpPr>
          <p:spPr bwMode="auto">
            <a:xfrm>
              <a:off x="6587734" y="812309"/>
              <a:ext cx="96846" cy="123812"/>
            </a:xfrm>
            <a:custGeom>
              <a:avLst/>
              <a:gdLst>
                <a:gd name="T0" fmla="*/ 127 w 188"/>
                <a:gd name="T1" fmla="*/ 113 h 239"/>
                <a:gd name="T2" fmla="*/ 127 w 188"/>
                <a:gd name="T3" fmla="*/ 108 h 239"/>
                <a:gd name="T4" fmla="*/ 146 w 188"/>
                <a:gd name="T5" fmla="*/ 103 h 239"/>
                <a:gd name="T6" fmla="*/ 164 w 188"/>
                <a:gd name="T7" fmla="*/ 89 h 239"/>
                <a:gd name="T8" fmla="*/ 174 w 188"/>
                <a:gd name="T9" fmla="*/ 75 h 239"/>
                <a:gd name="T10" fmla="*/ 179 w 188"/>
                <a:gd name="T11" fmla="*/ 52 h 239"/>
                <a:gd name="T12" fmla="*/ 169 w 188"/>
                <a:gd name="T13" fmla="*/ 28 h 239"/>
                <a:gd name="T14" fmla="*/ 155 w 188"/>
                <a:gd name="T15" fmla="*/ 10 h 239"/>
                <a:gd name="T16" fmla="*/ 132 w 188"/>
                <a:gd name="T17" fmla="*/ 0 h 239"/>
                <a:gd name="T18" fmla="*/ 104 w 188"/>
                <a:gd name="T19" fmla="*/ 0 h 239"/>
                <a:gd name="T20" fmla="*/ 0 w 188"/>
                <a:gd name="T21" fmla="*/ 0 h 239"/>
                <a:gd name="T22" fmla="*/ 0 w 188"/>
                <a:gd name="T23" fmla="*/ 10 h 239"/>
                <a:gd name="T24" fmla="*/ 29 w 188"/>
                <a:gd name="T25" fmla="*/ 19 h 239"/>
                <a:gd name="T26" fmla="*/ 29 w 188"/>
                <a:gd name="T27" fmla="*/ 216 h 239"/>
                <a:gd name="T28" fmla="*/ 0 w 188"/>
                <a:gd name="T29" fmla="*/ 225 h 239"/>
                <a:gd name="T30" fmla="*/ 0 w 188"/>
                <a:gd name="T31" fmla="*/ 239 h 239"/>
                <a:gd name="T32" fmla="*/ 104 w 188"/>
                <a:gd name="T33" fmla="*/ 239 h 239"/>
                <a:gd name="T34" fmla="*/ 108 w 188"/>
                <a:gd name="T35" fmla="*/ 239 h 239"/>
                <a:gd name="T36" fmla="*/ 136 w 188"/>
                <a:gd name="T37" fmla="*/ 235 h 239"/>
                <a:gd name="T38" fmla="*/ 164 w 188"/>
                <a:gd name="T39" fmla="*/ 221 h 239"/>
                <a:gd name="T40" fmla="*/ 179 w 188"/>
                <a:gd name="T41" fmla="*/ 202 h 239"/>
                <a:gd name="T42" fmla="*/ 188 w 188"/>
                <a:gd name="T43" fmla="*/ 174 h 239"/>
                <a:gd name="T44" fmla="*/ 183 w 188"/>
                <a:gd name="T45" fmla="*/ 146 h 239"/>
                <a:gd name="T46" fmla="*/ 169 w 188"/>
                <a:gd name="T47" fmla="*/ 132 h 239"/>
                <a:gd name="T48" fmla="*/ 150 w 188"/>
                <a:gd name="T49" fmla="*/ 117 h 239"/>
                <a:gd name="T50" fmla="*/ 127 w 188"/>
                <a:gd name="T51" fmla="*/ 113 h 239"/>
                <a:gd name="T52" fmla="*/ 75 w 188"/>
                <a:gd name="T53" fmla="*/ 14 h 239"/>
                <a:gd name="T54" fmla="*/ 75 w 188"/>
                <a:gd name="T55" fmla="*/ 14 h 239"/>
                <a:gd name="T56" fmla="*/ 89 w 188"/>
                <a:gd name="T57" fmla="*/ 14 h 239"/>
                <a:gd name="T58" fmla="*/ 104 w 188"/>
                <a:gd name="T59" fmla="*/ 19 h 239"/>
                <a:gd name="T60" fmla="*/ 122 w 188"/>
                <a:gd name="T61" fmla="*/ 33 h 239"/>
                <a:gd name="T62" fmla="*/ 127 w 188"/>
                <a:gd name="T63" fmla="*/ 42 h 239"/>
                <a:gd name="T64" fmla="*/ 127 w 188"/>
                <a:gd name="T65" fmla="*/ 61 h 239"/>
                <a:gd name="T66" fmla="*/ 122 w 188"/>
                <a:gd name="T67" fmla="*/ 89 h 239"/>
                <a:gd name="T68" fmla="*/ 113 w 188"/>
                <a:gd name="T69" fmla="*/ 99 h 239"/>
                <a:gd name="T70" fmla="*/ 104 w 188"/>
                <a:gd name="T71" fmla="*/ 103 h 239"/>
                <a:gd name="T72" fmla="*/ 94 w 188"/>
                <a:gd name="T73" fmla="*/ 108 h 239"/>
                <a:gd name="T74" fmla="*/ 75 w 188"/>
                <a:gd name="T75" fmla="*/ 108 h 239"/>
                <a:gd name="T76" fmla="*/ 75 w 188"/>
                <a:gd name="T77" fmla="*/ 14 h 239"/>
                <a:gd name="T78" fmla="*/ 104 w 188"/>
                <a:gd name="T79" fmla="*/ 221 h 239"/>
                <a:gd name="T80" fmla="*/ 104 w 188"/>
                <a:gd name="T81" fmla="*/ 221 h 239"/>
                <a:gd name="T82" fmla="*/ 85 w 188"/>
                <a:gd name="T83" fmla="*/ 216 h 239"/>
                <a:gd name="T84" fmla="*/ 75 w 188"/>
                <a:gd name="T85" fmla="*/ 207 h 239"/>
                <a:gd name="T86" fmla="*/ 75 w 188"/>
                <a:gd name="T87" fmla="*/ 117 h 239"/>
                <a:gd name="T88" fmla="*/ 94 w 188"/>
                <a:gd name="T89" fmla="*/ 117 h 239"/>
                <a:gd name="T90" fmla="*/ 104 w 188"/>
                <a:gd name="T91" fmla="*/ 117 h 239"/>
                <a:gd name="T92" fmla="*/ 118 w 188"/>
                <a:gd name="T93" fmla="*/ 127 h 239"/>
                <a:gd name="T94" fmla="*/ 132 w 188"/>
                <a:gd name="T95" fmla="*/ 136 h 239"/>
                <a:gd name="T96" fmla="*/ 136 w 188"/>
                <a:gd name="T97" fmla="*/ 155 h 239"/>
                <a:gd name="T98" fmla="*/ 136 w 188"/>
                <a:gd name="T99" fmla="*/ 174 h 239"/>
                <a:gd name="T100" fmla="*/ 136 w 188"/>
                <a:gd name="T101" fmla="*/ 193 h 239"/>
                <a:gd name="T102" fmla="*/ 132 w 188"/>
                <a:gd name="T103" fmla="*/ 207 h 239"/>
                <a:gd name="T104" fmla="*/ 118 w 188"/>
                <a:gd name="T105" fmla="*/ 216 h 239"/>
                <a:gd name="T106" fmla="*/ 104 w 188"/>
                <a:gd name="T107" fmla="*/ 221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88" h="239">
                  <a:moveTo>
                    <a:pt x="127" y="113"/>
                  </a:moveTo>
                  <a:lnTo>
                    <a:pt x="127" y="108"/>
                  </a:lnTo>
                  <a:lnTo>
                    <a:pt x="146" y="103"/>
                  </a:lnTo>
                  <a:lnTo>
                    <a:pt x="164" y="89"/>
                  </a:lnTo>
                  <a:lnTo>
                    <a:pt x="174" y="75"/>
                  </a:lnTo>
                  <a:lnTo>
                    <a:pt x="179" y="52"/>
                  </a:lnTo>
                  <a:lnTo>
                    <a:pt x="169" y="28"/>
                  </a:lnTo>
                  <a:lnTo>
                    <a:pt x="155" y="10"/>
                  </a:lnTo>
                  <a:lnTo>
                    <a:pt x="132" y="0"/>
                  </a:lnTo>
                  <a:lnTo>
                    <a:pt x="104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9" y="19"/>
                  </a:lnTo>
                  <a:lnTo>
                    <a:pt x="29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04" y="239"/>
                  </a:lnTo>
                  <a:lnTo>
                    <a:pt x="108" y="239"/>
                  </a:lnTo>
                  <a:lnTo>
                    <a:pt x="136" y="235"/>
                  </a:lnTo>
                  <a:lnTo>
                    <a:pt x="164" y="221"/>
                  </a:lnTo>
                  <a:lnTo>
                    <a:pt x="179" y="202"/>
                  </a:lnTo>
                  <a:lnTo>
                    <a:pt x="188" y="174"/>
                  </a:lnTo>
                  <a:lnTo>
                    <a:pt x="183" y="146"/>
                  </a:lnTo>
                  <a:lnTo>
                    <a:pt x="169" y="132"/>
                  </a:lnTo>
                  <a:lnTo>
                    <a:pt x="150" y="117"/>
                  </a:lnTo>
                  <a:lnTo>
                    <a:pt x="127" y="113"/>
                  </a:lnTo>
                  <a:close/>
                  <a:moveTo>
                    <a:pt x="75" y="14"/>
                  </a:moveTo>
                  <a:lnTo>
                    <a:pt x="75" y="14"/>
                  </a:lnTo>
                  <a:lnTo>
                    <a:pt x="89" y="14"/>
                  </a:lnTo>
                  <a:lnTo>
                    <a:pt x="104" y="19"/>
                  </a:lnTo>
                  <a:lnTo>
                    <a:pt x="122" y="33"/>
                  </a:lnTo>
                  <a:lnTo>
                    <a:pt x="127" y="42"/>
                  </a:lnTo>
                  <a:lnTo>
                    <a:pt x="127" y="61"/>
                  </a:lnTo>
                  <a:lnTo>
                    <a:pt x="122" y="89"/>
                  </a:lnTo>
                  <a:lnTo>
                    <a:pt x="113" y="99"/>
                  </a:lnTo>
                  <a:lnTo>
                    <a:pt x="104" y="103"/>
                  </a:lnTo>
                  <a:lnTo>
                    <a:pt x="94" y="108"/>
                  </a:lnTo>
                  <a:lnTo>
                    <a:pt x="75" y="108"/>
                  </a:lnTo>
                  <a:lnTo>
                    <a:pt x="75" y="14"/>
                  </a:lnTo>
                  <a:close/>
                  <a:moveTo>
                    <a:pt x="104" y="221"/>
                  </a:moveTo>
                  <a:lnTo>
                    <a:pt x="104" y="221"/>
                  </a:lnTo>
                  <a:lnTo>
                    <a:pt x="85" y="216"/>
                  </a:lnTo>
                  <a:lnTo>
                    <a:pt x="75" y="207"/>
                  </a:lnTo>
                  <a:lnTo>
                    <a:pt x="75" y="117"/>
                  </a:lnTo>
                  <a:lnTo>
                    <a:pt x="94" y="117"/>
                  </a:lnTo>
                  <a:lnTo>
                    <a:pt x="104" y="117"/>
                  </a:lnTo>
                  <a:lnTo>
                    <a:pt x="118" y="127"/>
                  </a:lnTo>
                  <a:lnTo>
                    <a:pt x="132" y="136"/>
                  </a:lnTo>
                  <a:lnTo>
                    <a:pt x="136" y="155"/>
                  </a:lnTo>
                  <a:lnTo>
                    <a:pt x="136" y="174"/>
                  </a:lnTo>
                  <a:lnTo>
                    <a:pt x="136" y="193"/>
                  </a:lnTo>
                  <a:lnTo>
                    <a:pt x="132" y="207"/>
                  </a:lnTo>
                  <a:lnTo>
                    <a:pt x="118" y="216"/>
                  </a:lnTo>
                  <a:lnTo>
                    <a:pt x="104" y="2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5" name="Freeform 63"/>
            <p:cNvSpPr>
              <a:spLocks/>
            </p:cNvSpPr>
            <p:nvPr/>
          </p:nvSpPr>
          <p:spPr bwMode="auto">
            <a:xfrm>
              <a:off x="6711607" y="812309"/>
              <a:ext cx="90089" cy="123812"/>
            </a:xfrm>
            <a:custGeom>
              <a:avLst/>
              <a:gdLst>
                <a:gd name="T0" fmla="*/ 145 w 173"/>
                <a:gd name="T1" fmla="*/ 216 h 239"/>
                <a:gd name="T2" fmla="*/ 70 w 173"/>
                <a:gd name="T3" fmla="*/ 216 h 239"/>
                <a:gd name="T4" fmla="*/ 70 w 173"/>
                <a:gd name="T5" fmla="*/ 117 h 239"/>
                <a:gd name="T6" fmla="*/ 112 w 173"/>
                <a:gd name="T7" fmla="*/ 117 h 239"/>
                <a:gd name="T8" fmla="*/ 121 w 173"/>
                <a:gd name="T9" fmla="*/ 150 h 239"/>
                <a:gd name="T10" fmla="*/ 136 w 173"/>
                <a:gd name="T11" fmla="*/ 150 h 239"/>
                <a:gd name="T12" fmla="*/ 131 w 173"/>
                <a:gd name="T13" fmla="*/ 108 h 239"/>
                <a:gd name="T14" fmla="*/ 136 w 173"/>
                <a:gd name="T15" fmla="*/ 71 h 239"/>
                <a:gd name="T16" fmla="*/ 121 w 173"/>
                <a:gd name="T17" fmla="*/ 71 h 239"/>
                <a:gd name="T18" fmla="*/ 112 w 173"/>
                <a:gd name="T19" fmla="*/ 103 h 239"/>
                <a:gd name="T20" fmla="*/ 70 w 173"/>
                <a:gd name="T21" fmla="*/ 103 h 239"/>
                <a:gd name="T22" fmla="*/ 70 w 173"/>
                <a:gd name="T23" fmla="*/ 24 h 239"/>
                <a:gd name="T24" fmla="*/ 140 w 173"/>
                <a:gd name="T25" fmla="*/ 24 h 239"/>
                <a:gd name="T26" fmla="*/ 150 w 173"/>
                <a:gd name="T27" fmla="*/ 61 h 239"/>
                <a:gd name="T28" fmla="*/ 164 w 173"/>
                <a:gd name="T29" fmla="*/ 61 h 239"/>
                <a:gd name="T30" fmla="*/ 159 w 173"/>
                <a:gd name="T31" fmla="*/ 0 h 239"/>
                <a:gd name="T32" fmla="*/ 145 w 173"/>
                <a:gd name="T33" fmla="*/ 0 h 239"/>
                <a:gd name="T34" fmla="*/ 0 w 173"/>
                <a:gd name="T35" fmla="*/ 0 h 239"/>
                <a:gd name="T36" fmla="*/ 0 w 173"/>
                <a:gd name="T37" fmla="*/ 10 h 239"/>
                <a:gd name="T38" fmla="*/ 23 w 173"/>
                <a:gd name="T39" fmla="*/ 19 h 239"/>
                <a:gd name="T40" fmla="*/ 23 w 173"/>
                <a:gd name="T41" fmla="*/ 216 h 239"/>
                <a:gd name="T42" fmla="*/ 0 w 173"/>
                <a:gd name="T43" fmla="*/ 225 h 239"/>
                <a:gd name="T44" fmla="*/ 0 w 173"/>
                <a:gd name="T45" fmla="*/ 239 h 239"/>
                <a:gd name="T46" fmla="*/ 164 w 173"/>
                <a:gd name="T47" fmla="*/ 239 h 239"/>
                <a:gd name="T48" fmla="*/ 173 w 173"/>
                <a:gd name="T49" fmla="*/ 169 h 239"/>
                <a:gd name="T50" fmla="*/ 159 w 173"/>
                <a:gd name="T51" fmla="*/ 169 h 239"/>
                <a:gd name="T52" fmla="*/ 145 w 173"/>
                <a:gd name="T53" fmla="*/ 216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73" h="239">
                  <a:moveTo>
                    <a:pt x="145" y="216"/>
                  </a:moveTo>
                  <a:lnTo>
                    <a:pt x="70" y="216"/>
                  </a:lnTo>
                  <a:lnTo>
                    <a:pt x="70" y="117"/>
                  </a:lnTo>
                  <a:lnTo>
                    <a:pt x="112" y="117"/>
                  </a:lnTo>
                  <a:lnTo>
                    <a:pt x="121" y="150"/>
                  </a:lnTo>
                  <a:lnTo>
                    <a:pt x="136" y="150"/>
                  </a:lnTo>
                  <a:lnTo>
                    <a:pt x="131" y="108"/>
                  </a:lnTo>
                  <a:lnTo>
                    <a:pt x="136" y="71"/>
                  </a:lnTo>
                  <a:lnTo>
                    <a:pt x="121" y="71"/>
                  </a:lnTo>
                  <a:lnTo>
                    <a:pt x="112" y="103"/>
                  </a:lnTo>
                  <a:lnTo>
                    <a:pt x="70" y="103"/>
                  </a:lnTo>
                  <a:lnTo>
                    <a:pt x="70" y="24"/>
                  </a:lnTo>
                  <a:lnTo>
                    <a:pt x="140" y="24"/>
                  </a:lnTo>
                  <a:lnTo>
                    <a:pt x="150" y="61"/>
                  </a:lnTo>
                  <a:lnTo>
                    <a:pt x="164" y="61"/>
                  </a:lnTo>
                  <a:lnTo>
                    <a:pt x="159" y="0"/>
                  </a:lnTo>
                  <a:lnTo>
                    <a:pt x="145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3" y="19"/>
                  </a:lnTo>
                  <a:lnTo>
                    <a:pt x="23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64" y="239"/>
                  </a:lnTo>
                  <a:lnTo>
                    <a:pt x="173" y="169"/>
                  </a:lnTo>
                  <a:lnTo>
                    <a:pt x="159" y="169"/>
                  </a:lnTo>
                  <a:lnTo>
                    <a:pt x="145" y="2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6" name="Freeform 64"/>
            <p:cNvSpPr>
              <a:spLocks/>
            </p:cNvSpPr>
            <p:nvPr/>
          </p:nvSpPr>
          <p:spPr bwMode="auto">
            <a:xfrm>
              <a:off x="6828722" y="812309"/>
              <a:ext cx="186933" cy="157579"/>
            </a:xfrm>
            <a:custGeom>
              <a:avLst/>
              <a:gdLst>
                <a:gd name="T0" fmla="*/ 328 w 365"/>
                <a:gd name="T1" fmla="*/ 19 h 305"/>
                <a:gd name="T2" fmla="*/ 361 w 365"/>
                <a:gd name="T3" fmla="*/ 10 h 305"/>
                <a:gd name="T4" fmla="*/ 361 w 365"/>
                <a:gd name="T5" fmla="*/ 0 h 305"/>
                <a:gd name="T6" fmla="*/ 248 w 365"/>
                <a:gd name="T7" fmla="*/ 0 h 305"/>
                <a:gd name="T8" fmla="*/ 248 w 365"/>
                <a:gd name="T9" fmla="*/ 10 h 305"/>
                <a:gd name="T10" fmla="*/ 276 w 365"/>
                <a:gd name="T11" fmla="*/ 19 h 305"/>
                <a:gd name="T12" fmla="*/ 276 w 365"/>
                <a:gd name="T13" fmla="*/ 216 h 305"/>
                <a:gd name="T14" fmla="*/ 201 w 365"/>
                <a:gd name="T15" fmla="*/ 216 h 305"/>
                <a:gd name="T16" fmla="*/ 201 w 365"/>
                <a:gd name="T17" fmla="*/ 19 h 305"/>
                <a:gd name="T18" fmla="*/ 234 w 365"/>
                <a:gd name="T19" fmla="*/ 10 h 305"/>
                <a:gd name="T20" fmla="*/ 234 w 365"/>
                <a:gd name="T21" fmla="*/ 0 h 305"/>
                <a:gd name="T22" fmla="*/ 121 w 365"/>
                <a:gd name="T23" fmla="*/ 0 h 305"/>
                <a:gd name="T24" fmla="*/ 121 w 365"/>
                <a:gd name="T25" fmla="*/ 10 h 305"/>
                <a:gd name="T26" fmla="*/ 154 w 365"/>
                <a:gd name="T27" fmla="*/ 19 h 305"/>
                <a:gd name="T28" fmla="*/ 154 w 365"/>
                <a:gd name="T29" fmla="*/ 216 h 305"/>
                <a:gd name="T30" fmla="*/ 75 w 365"/>
                <a:gd name="T31" fmla="*/ 216 h 305"/>
                <a:gd name="T32" fmla="*/ 75 w 365"/>
                <a:gd name="T33" fmla="*/ 19 h 305"/>
                <a:gd name="T34" fmla="*/ 107 w 365"/>
                <a:gd name="T35" fmla="*/ 10 h 305"/>
                <a:gd name="T36" fmla="*/ 107 w 365"/>
                <a:gd name="T37" fmla="*/ 0 h 305"/>
                <a:gd name="T38" fmla="*/ 0 w 365"/>
                <a:gd name="T39" fmla="*/ 0 h 305"/>
                <a:gd name="T40" fmla="*/ 0 w 365"/>
                <a:gd name="T41" fmla="*/ 10 h 305"/>
                <a:gd name="T42" fmla="*/ 28 w 365"/>
                <a:gd name="T43" fmla="*/ 19 h 305"/>
                <a:gd name="T44" fmla="*/ 28 w 365"/>
                <a:gd name="T45" fmla="*/ 216 h 305"/>
                <a:gd name="T46" fmla="*/ 0 w 365"/>
                <a:gd name="T47" fmla="*/ 221 h 305"/>
                <a:gd name="T48" fmla="*/ 0 w 365"/>
                <a:gd name="T49" fmla="*/ 235 h 305"/>
                <a:gd name="T50" fmla="*/ 337 w 365"/>
                <a:gd name="T51" fmla="*/ 235 h 305"/>
                <a:gd name="T52" fmla="*/ 337 w 365"/>
                <a:gd name="T53" fmla="*/ 305 h 305"/>
                <a:gd name="T54" fmla="*/ 347 w 365"/>
                <a:gd name="T55" fmla="*/ 305 h 305"/>
                <a:gd name="T56" fmla="*/ 365 w 365"/>
                <a:gd name="T57" fmla="*/ 216 h 305"/>
                <a:gd name="T58" fmla="*/ 328 w 365"/>
                <a:gd name="T59" fmla="*/ 216 h 305"/>
                <a:gd name="T60" fmla="*/ 328 w 365"/>
                <a:gd name="T61" fmla="*/ 19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65" h="305">
                  <a:moveTo>
                    <a:pt x="328" y="19"/>
                  </a:moveTo>
                  <a:lnTo>
                    <a:pt x="361" y="10"/>
                  </a:lnTo>
                  <a:lnTo>
                    <a:pt x="361" y="0"/>
                  </a:lnTo>
                  <a:lnTo>
                    <a:pt x="248" y="0"/>
                  </a:lnTo>
                  <a:lnTo>
                    <a:pt x="248" y="10"/>
                  </a:lnTo>
                  <a:lnTo>
                    <a:pt x="276" y="19"/>
                  </a:lnTo>
                  <a:lnTo>
                    <a:pt x="276" y="216"/>
                  </a:lnTo>
                  <a:lnTo>
                    <a:pt x="201" y="216"/>
                  </a:lnTo>
                  <a:lnTo>
                    <a:pt x="201" y="19"/>
                  </a:lnTo>
                  <a:lnTo>
                    <a:pt x="234" y="10"/>
                  </a:lnTo>
                  <a:lnTo>
                    <a:pt x="234" y="0"/>
                  </a:lnTo>
                  <a:lnTo>
                    <a:pt x="121" y="0"/>
                  </a:lnTo>
                  <a:lnTo>
                    <a:pt x="121" y="10"/>
                  </a:lnTo>
                  <a:lnTo>
                    <a:pt x="154" y="19"/>
                  </a:lnTo>
                  <a:lnTo>
                    <a:pt x="154" y="216"/>
                  </a:lnTo>
                  <a:lnTo>
                    <a:pt x="75" y="216"/>
                  </a:lnTo>
                  <a:lnTo>
                    <a:pt x="75" y="19"/>
                  </a:lnTo>
                  <a:lnTo>
                    <a:pt x="107" y="10"/>
                  </a:lnTo>
                  <a:lnTo>
                    <a:pt x="107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1"/>
                  </a:lnTo>
                  <a:lnTo>
                    <a:pt x="0" y="235"/>
                  </a:lnTo>
                  <a:lnTo>
                    <a:pt x="337" y="235"/>
                  </a:lnTo>
                  <a:lnTo>
                    <a:pt x="337" y="305"/>
                  </a:lnTo>
                  <a:lnTo>
                    <a:pt x="347" y="305"/>
                  </a:lnTo>
                  <a:lnTo>
                    <a:pt x="365" y="216"/>
                  </a:lnTo>
                  <a:lnTo>
                    <a:pt x="328" y="216"/>
                  </a:lnTo>
                  <a:lnTo>
                    <a:pt x="328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7" name="Freeform 65"/>
            <p:cNvSpPr>
              <a:spLocks/>
            </p:cNvSpPr>
            <p:nvPr/>
          </p:nvSpPr>
          <p:spPr bwMode="auto">
            <a:xfrm>
              <a:off x="7033673" y="812309"/>
              <a:ext cx="90089" cy="123812"/>
            </a:xfrm>
            <a:custGeom>
              <a:avLst/>
              <a:gdLst>
                <a:gd name="T0" fmla="*/ 178 w 178"/>
                <a:gd name="T1" fmla="*/ 169 h 239"/>
                <a:gd name="T2" fmla="*/ 164 w 178"/>
                <a:gd name="T3" fmla="*/ 169 h 239"/>
                <a:gd name="T4" fmla="*/ 145 w 178"/>
                <a:gd name="T5" fmla="*/ 216 h 239"/>
                <a:gd name="T6" fmla="*/ 75 w 178"/>
                <a:gd name="T7" fmla="*/ 216 h 239"/>
                <a:gd name="T8" fmla="*/ 75 w 178"/>
                <a:gd name="T9" fmla="*/ 117 h 239"/>
                <a:gd name="T10" fmla="*/ 117 w 178"/>
                <a:gd name="T11" fmla="*/ 117 h 239"/>
                <a:gd name="T12" fmla="*/ 127 w 178"/>
                <a:gd name="T13" fmla="*/ 150 h 239"/>
                <a:gd name="T14" fmla="*/ 136 w 178"/>
                <a:gd name="T15" fmla="*/ 150 h 239"/>
                <a:gd name="T16" fmla="*/ 136 w 178"/>
                <a:gd name="T17" fmla="*/ 132 h 239"/>
                <a:gd name="T18" fmla="*/ 136 w 178"/>
                <a:gd name="T19" fmla="*/ 108 h 239"/>
                <a:gd name="T20" fmla="*/ 136 w 178"/>
                <a:gd name="T21" fmla="*/ 89 h 239"/>
                <a:gd name="T22" fmla="*/ 136 w 178"/>
                <a:gd name="T23" fmla="*/ 71 h 239"/>
                <a:gd name="T24" fmla="*/ 127 w 178"/>
                <a:gd name="T25" fmla="*/ 71 h 239"/>
                <a:gd name="T26" fmla="*/ 117 w 178"/>
                <a:gd name="T27" fmla="*/ 103 h 239"/>
                <a:gd name="T28" fmla="*/ 75 w 178"/>
                <a:gd name="T29" fmla="*/ 103 h 239"/>
                <a:gd name="T30" fmla="*/ 75 w 178"/>
                <a:gd name="T31" fmla="*/ 24 h 239"/>
                <a:gd name="T32" fmla="*/ 145 w 178"/>
                <a:gd name="T33" fmla="*/ 24 h 239"/>
                <a:gd name="T34" fmla="*/ 155 w 178"/>
                <a:gd name="T35" fmla="*/ 61 h 239"/>
                <a:gd name="T36" fmla="*/ 164 w 178"/>
                <a:gd name="T37" fmla="*/ 61 h 239"/>
                <a:gd name="T38" fmla="*/ 164 w 178"/>
                <a:gd name="T39" fmla="*/ 0 h 239"/>
                <a:gd name="T40" fmla="*/ 0 w 178"/>
                <a:gd name="T41" fmla="*/ 0 h 239"/>
                <a:gd name="T42" fmla="*/ 0 w 178"/>
                <a:gd name="T43" fmla="*/ 10 h 239"/>
                <a:gd name="T44" fmla="*/ 28 w 178"/>
                <a:gd name="T45" fmla="*/ 19 h 239"/>
                <a:gd name="T46" fmla="*/ 28 w 178"/>
                <a:gd name="T47" fmla="*/ 216 h 239"/>
                <a:gd name="T48" fmla="*/ 0 w 178"/>
                <a:gd name="T49" fmla="*/ 225 h 239"/>
                <a:gd name="T50" fmla="*/ 0 w 178"/>
                <a:gd name="T51" fmla="*/ 239 h 239"/>
                <a:gd name="T52" fmla="*/ 169 w 178"/>
                <a:gd name="T53" fmla="*/ 239 h 239"/>
                <a:gd name="T54" fmla="*/ 178 w 178"/>
                <a:gd name="T55" fmla="*/ 16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78" h="239">
                  <a:moveTo>
                    <a:pt x="178" y="169"/>
                  </a:moveTo>
                  <a:lnTo>
                    <a:pt x="164" y="169"/>
                  </a:lnTo>
                  <a:lnTo>
                    <a:pt x="145" y="216"/>
                  </a:lnTo>
                  <a:lnTo>
                    <a:pt x="75" y="216"/>
                  </a:lnTo>
                  <a:lnTo>
                    <a:pt x="75" y="117"/>
                  </a:lnTo>
                  <a:lnTo>
                    <a:pt x="117" y="117"/>
                  </a:lnTo>
                  <a:lnTo>
                    <a:pt x="127" y="150"/>
                  </a:lnTo>
                  <a:lnTo>
                    <a:pt x="136" y="150"/>
                  </a:lnTo>
                  <a:lnTo>
                    <a:pt x="136" y="132"/>
                  </a:lnTo>
                  <a:lnTo>
                    <a:pt x="136" y="108"/>
                  </a:lnTo>
                  <a:lnTo>
                    <a:pt x="136" y="89"/>
                  </a:lnTo>
                  <a:lnTo>
                    <a:pt x="136" y="71"/>
                  </a:lnTo>
                  <a:lnTo>
                    <a:pt x="127" y="71"/>
                  </a:lnTo>
                  <a:lnTo>
                    <a:pt x="117" y="103"/>
                  </a:lnTo>
                  <a:lnTo>
                    <a:pt x="75" y="103"/>
                  </a:lnTo>
                  <a:lnTo>
                    <a:pt x="75" y="24"/>
                  </a:lnTo>
                  <a:lnTo>
                    <a:pt x="145" y="24"/>
                  </a:lnTo>
                  <a:lnTo>
                    <a:pt x="155" y="61"/>
                  </a:lnTo>
                  <a:lnTo>
                    <a:pt x="164" y="61"/>
                  </a:lnTo>
                  <a:lnTo>
                    <a:pt x="164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69" y="239"/>
                  </a:lnTo>
                  <a:lnTo>
                    <a:pt x="178" y="16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8" name="Freeform 66"/>
            <p:cNvSpPr>
              <a:spLocks/>
            </p:cNvSpPr>
            <p:nvPr/>
          </p:nvSpPr>
          <p:spPr bwMode="auto">
            <a:xfrm>
              <a:off x="7148536" y="812309"/>
              <a:ext cx="130630" cy="123812"/>
            </a:xfrm>
            <a:custGeom>
              <a:avLst/>
              <a:gdLst>
                <a:gd name="T0" fmla="*/ 141 w 253"/>
                <a:gd name="T1" fmla="*/ 10 h 239"/>
                <a:gd name="T2" fmla="*/ 174 w 253"/>
                <a:gd name="T3" fmla="*/ 19 h 239"/>
                <a:gd name="T4" fmla="*/ 174 w 253"/>
                <a:gd name="T5" fmla="*/ 103 h 239"/>
                <a:gd name="T6" fmla="*/ 75 w 253"/>
                <a:gd name="T7" fmla="*/ 103 h 239"/>
                <a:gd name="T8" fmla="*/ 75 w 253"/>
                <a:gd name="T9" fmla="*/ 19 h 239"/>
                <a:gd name="T10" fmla="*/ 113 w 253"/>
                <a:gd name="T11" fmla="*/ 10 h 239"/>
                <a:gd name="T12" fmla="*/ 113 w 253"/>
                <a:gd name="T13" fmla="*/ 0 h 239"/>
                <a:gd name="T14" fmla="*/ 0 w 253"/>
                <a:gd name="T15" fmla="*/ 0 h 239"/>
                <a:gd name="T16" fmla="*/ 0 w 253"/>
                <a:gd name="T17" fmla="*/ 10 h 239"/>
                <a:gd name="T18" fmla="*/ 28 w 253"/>
                <a:gd name="T19" fmla="*/ 19 h 239"/>
                <a:gd name="T20" fmla="*/ 28 w 253"/>
                <a:gd name="T21" fmla="*/ 216 h 239"/>
                <a:gd name="T22" fmla="*/ 0 w 253"/>
                <a:gd name="T23" fmla="*/ 225 h 239"/>
                <a:gd name="T24" fmla="*/ 0 w 253"/>
                <a:gd name="T25" fmla="*/ 239 h 239"/>
                <a:gd name="T26" fmla="*/ 113 w 253"/>
                <a:gd name="T27" fmla="*/ 239 h 239"/>
                <a:gd name="T28" fmla="*/ 113 w 253"/>
                <a:gd name="T29" fmla="*/ 225 h 239"/>
                <a:gd name="T30" fmla="*/ 75 w 253"/>
                <a:gd name="T31" fmla="*/ 216 h 239"/>
                <a:gd name="T32" fmla="*/ 75 w 253"/>
                <a:gd name="T33" fmla="*/ 122 h 239"/>
                <a:gd name="T34" fmla="*/ 174 w 253"/>
                <a:gd name="T35" fmla="*/ 122 h 239"/>
                <a:gd name="T36" fmla="*/ 174 w 253"/>
                <a:gd name="T37" fmla="*/ 216 h 239"/>
                <a:gd name="T38" fmla="*/ 141 w 253"/>
                <a:gd name="T39" fmla="*/ 225 h 239"/>
                <a:gd name="T40" fmla="*/ 141 w 253"/>
                <a:gd name="T41" fmla="*/ 239 h 239"/>
                <a:gd name="T42" fmla="*/ 253 w 253"/>
                <a:gd name="T43" fmla="*/ 239 h 239"/>
                <a:gd name="T44" fmla="*/ 253 w 253"/>
                <a:gd name="T45" fmla="*/ 225 h 239"/>
                <a:gd name="T46" fmla="*/ 221 w 253"/>
                <a:gd name="T47" fmla="*/ 216 h 239"/>
                <a:gd name="T48" fmla="*/ 221 w 253"/>
                <a:gd name="T49" fmla="*/ 19 h 239"/>
                <a:gd name="T50" fmla="*/ 253 w 253"/>
                <a:gd name="T51" fmla="*/ 10 h 239"/>
                <a:gd name="T52" fmla="*/ 253 w 253"/>
                <a:gd name="T53" fmla="*/ 0 h 239"/>
                <a:gd name="T54" fmla="*/ 141 w 253"/>
                <a:gd name="T55" fmla="*/ 0 h 239"/>
                <a:gd name="T56" fmla="*/ 141 w 253"/>
                <a:gd name="T57" fmla="*/ 1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53" h="239">
                  <a:moveTo>
                    <a:pt x="141" y="10"/>
                  </a:moveTo>
                  <a:lnTo>
                    <a:pt x="174" y="19"/>
                  </a:lnTo>
                  <a:lnTo>
                    <a:pt x="174" y="103"/>
                  </a:lnTo>
                  <a:lnTo>
                    <a:pt x="75" y="103"/>
                  </a:lnTo>
                  <a:lnTo>
                    <a:pt x="75" y="19"/>
                  </a:lnTo>
                  <a:lnTo>
                    <a:pt x="113" y="10"/>
                  </a:lnTo>
                  <a:lnTo>
                    <a:pt x="113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13" y="239"/>
                  </a:lnTo>
                  <a:lnTo>
                    <a:pt x="113" y="225"/>
                  </a:lnTo>
                  <a:lnTo>
                    <a:pt x="75" y="216"/>
                  </a:lnTo>
                  <a:lnTo>
                    <a:pt x="75" y="122"/>
                  </a:lnTo>
                  <a:lnTo>
                    <a:pt x="174" y="122"/>
                  </a:lnTo>
                  <a:lnTo>
                    <a:pt x="174" y="216"/>
                  </a:lnTo>
                  <a:lnTo>
                    <a:pt x="141" y="225"/>
                  </a:lnTo>
                  <a:lnTo>
                    <a:pt x="141" y="239"/>
                  </a:lnTo>
                  <a:lnTo>
                    <a:pt x="253" y="239"/>
                  </a:lnTo>
                  <a:lnTo>
                    <a:pt x="253" y="225"/>
                  </a:lnTo>
                  <a:lnTo>
                    <a:pt x="221" y="216"/>
                  </a:lnTo>
                  <a:lnTo>
                    <a:pt x="221" y="19"/>
                  </a:lnTo>
                  <a:lnTo>
                    <a:pt x="253" y="10"/>
                  </a:lnTo>
                  <a:lnTo>
                    <a:pt x="253" y="0"/>
                  </a:lnTo>
                  <a:lnTo>
                    <a:pt x="141" y="0"/>
                  </a:lnTo>
                  <a:lnTo>
                    <a:pt x="141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9" name="Freeform 67"/>
            <p:cNvSpPr>
              <a:spLocks/>
            </p:cNvSpPr>
            <p:nvPr/>
          </p:nvSpPr>
          <p:spPr bwMode="auto">
            <a:xfrm>
              <a:off x="7301687" y="812309"/>
              <a:ext cx="130630" cy="123812"/>
            </a:xfrm>
            <a:custGeom>
              <a:avLst/>
              <a:gdLst>
                <a:gd name="T0" fmla="*/ 140 w 253"/>
                <a:gd name="T1" fmla="*/ 10 h 239"/>
                <a:gd name="T2" fmla="*/ 173 w 253"/>
                <a:gd name="T3" fmla="*/ 19 h 239"/>
                <a:gd name="T4" fmla="*/ 173 w 253"/>
                <a:gd name="T5" fmla="*/ 24 h 239"/>
                <a:gd name="T6" fmla="*/ 75 w 253"/>
                <a:gd name="T7" fmla="*/ 183 h 239"/>
                <a:gd name="T8" fmla="*/ 75 w 253"/>
                <a:gd name="T9" fmla="*/ 19 h 239"/>
                <a:gd name="T10" fmla="*/ 112 w 253"/>
                <a:gd name="T11" fmla="*/ 10 h 239"/>
                <a:gd name="T12" fmla="*/ 112 w 253"/>
                <a:gd name="T13" fmla="*/ 0 h 239"/>
                <a:gd name="T14" fmla="*/ 0 w 253"/>
                <a:gd name="T15" fmla="*/ 0 h 239"/>
                <a:gd name="T16" fmla="*/ 0 w 253"/>
                <a:gd name="T17" fmla="*/ 10 h 239"/>
                <a:gd name="T18" fmla="*/ 28 w 253"/>
                <a:gd name="T19" fmla="*/ 19 h 239"/>
                <a:gd name="T20" fmla="*/ 28 w 253"/>
                <a:gd name="T21" fmla="*/ 216 h 239"/>
                <a:gd name="T22" fmla="*/ 0 w 253"/>
                <a:gd name="T23" fmla="*/ 225 h 239"/>
                <a:gd name="T24" fmla="*/ 0 w 253"/>
                <a:gd name="T25" fmla="*/ 239 h 239"/>
                <a:gd name="T26" fmla="*/ 112 w 253"/>
                <a:gd name="T27" fmla="*/ 239 h 239"/>
                <a:gd name="T28" fmla="*/ 112 w 253"/>
                <a:gd name="T29" fmla="*/ 225 h 239"/>
                <a:gd name="T30" fmla="*/ 75 w 253"/>
                <a:gd name="T31" fmla="*/ 216 h 239"/>
                <a:gd name="T32" fmla="*/ 75 w 253"/>
                <a:gd name="T33" fmla="*/ 216 h 239"/>
                <a:gd name="T34" fmla="*/ 173 w 253"/>
                <a:gd name="T35" fmla="*/ 52 h 239"/>
                <a:gd name="T36" fmla="*/ 173 w 253"/>
                <a:gd name="T37" fmla="*/ 216 h 239"/>
                <a:gd name="T38" fmla="*/ 140 w 253"/>
                <a:gd name="T39" fmla="*/ 225 h 239"/>
                <a:gd name="T40" fmla="*/ 140 w 253"/>
                <a:gd name="T41" fmla="*/ 239 h 239"/>
                <a:gd name="T42" fmla="*/ 253 w 253"/>
                <a:gd name="T43" fmla="*/ 239 h 239"/>
                <a:gd name="T44" fmla="*/ 253 w 253"/>
                <a:gd name="T45" fmla="*/ 225 h 239"/>
                <a:gd name="T46" fmla="*/ 220 w 253"/>
                <a:gd name="T47" fmla="*/ 216 h 239"/>
                <a:gd name="T48" fmla="*/ 220 w 253"/>
                <a:gd name="T49" fmla="*/ 19 h 239"/>
                <a:gd name="T50" fmla="*/ 253 w 253"/>
                <a:gd name="T51" fmla="*/ 10 h 239"/>
                <a:gd name="T52" fmla="*/ 253 w 253"/>
                <a:gd name="T53" fmla="*/ 0 h 239"/>
                <a:gd name="T54" fmla="*/ 140 w 253"/>
                <a:gd name="T55" fmla="*/ 0 h 239"/>
                <a:gd name="T56" fmla="*/ 140 w 253"/>
                <a:gd name="T57" fmla="*/ 1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53" h="239">
                  <a:moveTo>
                    <a:pt x="140" y="10"/>
                  </a:moveTo>
                  <a:lnTo>
                    <a:pt x="173" y="19"/>
                  </a:lnTo>
                  <a:lnTo>
                    <a:pt x="173" y="24"/>
                  </a:lnTo>
                  <a:lnTo>
                    <a:pt x="75" y="183"/>
                  </a:lnTo>
                  <a:lnTo>
                    <a:pt x="75" y="19"/>
                  </a:lnTo>
                  <a:lnTo>
                    <a:pt x="112" y="10"/>
                  </a:lnTo>
                  <a:lnTo>
                    <a:pt x="112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12" y="239"/>
                  </a:lnTo>
                  <a:lnTo>
                    <a:pt x="112" y="225"/>
                  </a:lnTo>
                  <a:lnTo>
                    <a:pt x="75" y="216"/>
                  </a:lnTo>
                  <a:lnTo>
                    <a:pt x="75" y="216"/>
                  </a:lnTo>
                  <a:lnTo>
                    <a:pt x="173" y="52"/>
                  </a:lnTo>
                  <a:lnTo>
                    <a:pt x="173" y="216"/>
                  </a:lnTo>
                  <a:lnTo>
                    <a:pt x="140" y="225"/>
                  </a:lnTo>
                  <a:lnTo>
                    <a:pt x="140" y="239"/>
                  </a:lnTo>
                  <a:lnTo>
                    <a:pt x="253" y="239"/>
                  </a:lnTo>
                  <a:lnTo>
                    <a:pt x="253" y="225"/>
                  </a:lnTo>
                  <a:lnTo>
                    <a:pt x="220" y="216"/>
                  </a:lnTo>
                  <a:lnTo>
                    <a:pt x="220" y="19"/>
                  </a:lnTo>
                  <a:lnTo>
                    <a:pt x="253" y="10"/>
                  </a:lnTo>
                  <a:lnTo>
                    <a:pt x="253" y="0"/>
                  </a:lnTo>
                  <a:lnTo>
                    <a:pt x="140" y="0"/>
                  </a:lnTo>
                  <a:lnTo>
                    <a:pt x="140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90" name="Freeform 68"/>
            <p:cNvSpPr>
              <a:spLocks/>
            </p:cNvSpPr>
            <p:nvPr/>
          </p:nvSpPr>
          <p:spPr bwMode="auto">
            <a:xfrm>
              <a:off x="7450333" y="812309"/>
              <a:ext cx="94593" cy="123812"/>
            </a:xfrm>
            <a:custGeom>
              <a:avLst/>
              <a:gdLst>
                <a:gd name="T0" fmla="*/ 169 w 183"/>
                <a:gd name="T1" fmla="*/ 169 h 239"/>
                <a:gd name="T2" fmla="*/ 150 w 183"/>
                <a:gd name="T3" fmla="*/ 216 h 239"/>
                <a:gd name="T4" fmla="*/ 80 w 183"/>
                <a:gd name="T5" fmla="*/ 216 h 239"/>
                <a:gd name="T6" fmla="*/ 80 w 183"/>
                <a:gd name="T7" fmla="*/ 117 h 239"/>
                <a:gd name="T8" fmla="*/ 122 w 183"/>
                <a:gd name="T9" fmla="*/ 117 h 239"/>
                <a:gd name="T10" fmla="*/ 132 w 183"/>
                <a:gd name="T11" fmla="*/ 150 h 239"/>
                <a:gd name="T12" fmla="*/ 141 w 183"/>
                <a:gd name="T13" fmla="*/ 150 h 239"/>
                <a:gd name="T14" fmla="*/ 141 w 183"/>
                <a:gd name="T15" fmla="*/ 108 h 239"/>
                <a:gd name="T16" fmla="*/ 141 w 183"/>
                <a:gd name="T17" fmla="*/ 71 h 239"/>
                <a:gd name="T18" fmla="*/ 132 w 183"/>
                <a:gd name="T19" fmla="*/ 71 h 239"/>
                <a:gd name="T20" fmla="*/ 122 w 183"/>
                <a:gd name="T21" fmla="*/ 103 h 239"/>
                <a:gd name="T22" fmla="*/ 80 w 183"/>
                <a:gd name="T23" fmla="*/ 103 h 239"/>
                <a:gd name="T24" fmla="*/ 80 w 183"/>
                <a:gd name="T25" fmla="*/ 24 h 239"/>
                <a:gd name="T26" fmla="*/ 146 w 183"/>
                <a:gd name="T27" fmla="*/ 24 h 239"/>
                <a:gd name="T28" fmla="*/ 160 w 183"/>
                <a:gd name="T29" fmla="*/ 61 h 239"/>
                <a:gd name="T30" fmla="*/ 169 w 183"/>
                <a:gd name="T31" fmla="*/ 61 h 239"/>
                <a:gd name="T32" fmla="*/ 169 w 183"/>
                <a:gd name="T33" fmla="*/ 0 h 239"/>
                <a:gd name="T34" fmla="*/ 0 w 183"/>
                <a:gd name="T35" fmla="*/ 0 h 239"/>
                <a:gd name="T36" fmla="*/ 0 w 183"/>
                <a:gd name="T37" fmla="*/ 10 h 239"/>
                <a:gd name="T38" fmla="*/ 33 w 183"/>
                <a:gd name="T39" fmla="*/ 19 h 239"/>
                <a:gd name="T40" fmla="*/ 33 w 183"/>
                <a:gd name="T41" fmla="*/ 216 h 239"/>
                <a:gd name="T42" fmla="*/ 0 w 183"/>
                <a:gd name="T43" fmla="*/ 225 h 239"/>
                <a:gd name="T44" fmla="*/ 0 w 183"/>
                <a:gd name="T45" fmla="*/ 239 h 239"/>
                <a:gd name="T46" fmla="*/ 174 w 183"/>
                <a:gd name="T47" fmla="*/ 239 h 239"/>
                <a:gd name="T48" fmla="*/ 183 w 183"/>
                <a:gd name="T49" fmla="*/ 169 h 239"/>
                <a:gd name="T50" fmla="*/ 169 w 183"/>
                <a:gd name="T51" fmla="*/ 16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83" h="239">
                  <a:moveTo>
                    <a:pt x="169" y="169"/>
                  </a:moveTo>
                  <a:lnTo>
                    <a:pt x="150" y="216"/>
                  </a:lnTo>
                  <a:lnTo>
                    <a:pt x="80" y="216"/>
                  </a:lnTo>
                  <a:lnTo>
                    <a:pt x="80" y="117"/>
                  </a:lnTo>
                  <a:lnTo>
                    <a:pt x="122" y="117"/>
                  </a:lnTo>
                  <a:lnTo>
                    <a:pt x="132" y="150"/>
                  </a:lnTo>
                  <a:lnTo>
                    <a:pt x="141" y="150"/>
                  </a:lnTo>
                  <a:lnTo>
                    <a:pt x="141" y="108"/>
                  </a:lnTo>
                  <a:lnTo>
                    <a:pt x="141" y="71"/>
                  </a:lnTo>
                  <a:lnTo>
                    <a:pt x="132" y="71"/>
                  </a:lnTo>
                  <a:lnTo>
                    <a:pt x="122" y="103"/>
                  </a:lnTo>
                  <a:lnTo>
                    <a:pt x="80" y="103"/>
                  </a:lnTo>
                  <a:lnTo>
                    <a:pt x="80" y="24"/>
                  </a:lnTo>
                  <a:lnTo>
                    <a:pt x="146" y="24"/>
                  </a:lnTo>
                  <a:lnTo>
                    <a:pt x="160" y="61"/>
                  </a:lnTo>
                  <a:lnTo>
                    <a:pt x="169" y="61"/>
                  </a:lnTo>
                  <a:lnTo>
                    <a:pt x="169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33" y="19"/>
                  </a:lnTo>
                  <a:lnTo>
                    <a:pt x="33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74" y="239"/>
                  </a:lnTo>
                  <a:lnTo>
                    <a:pt x="183" y="169"/>
                  </a:lnTo>
                  <a:lnTo>
                    <a:pt x="169" y="16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91" name="Freeform 69"/>
            <p:cNvSpPr>
              <a:spLocks noEditPoints="1"/>
            </p:cNvSpPr>
            <p:nvPr/>
          </p:nvSpPr>
          <p:spPr bwMode="auto">
            <a:xfrm>
              <a:off x="6671066" y="443121"/>
              <a:ext cx="238735" cy="308406"/>
            </a:xfrm>
            <a:custGeom>
              <a:avLst/>
              <a:gdLst>
                <a:gd name="T0" fmla="*/ 230 w 464"/>
                <a:gd name="T1" fmla="*/ 595 h 595"/>
                <a:gd name="T2" fmla="*/ 431 w 464"/>
                <a:gd name="T3" fmla="*/ 511 h 595"/>
                <a:gd name="T4" fmla="*/ 464 w 464"/>
                <a:gd name="T5" fmla="*/ 65 h 595"/>
                <a:gd name="T6" fmla="*/ 230 w 464"/>
                <a:gd name="T7" fmla="*/ 0 h 595"/>
                <a:gd name="T8" fmla="*/ 117 w 464"/>
                <a:gd name="T9" fmla="*/ 32 h 595"/>
                <a:gd name="T10" fmla="*/ 0 w 464"/>
                <a:gd name="T11" fmla="*/ 65 h 595"/>
                <a:gd name="T12" fmla="*/ 28 w 464"/>
                <a:gd name="T13" fmla="*/ 511 h 595"/>
                <a:gd name="T14" fmla="*/ 117 w 464"/>
                <a:gd name="T15" fmla="*/ 548 h 595"/>
                <a:gd name="T16" fmla="*/ 230 w 464"/>
                <a:gd name="T17" fmla="*/ 595 h 595"/>
                <a:gd name="T18" fmla="*/ 117 w 464"/>
                <a:gd name="T19" fmla="*/ 61 h 595"/>
                <a:gd name="T20" fmla="*/ 117 w 464"/>
                <a:gd name="T21" fmla="*/ 61 h 595"/>
                <a:gd name="T22" fmla="*/ 164 w 464"/>
                <a:gd name="T23" fmla="*/ 46 h 595"/>
                <a:gd name="T24" fmla="*/ 117 w 464"/>
                <a:gd name="T25" fmla="*/ 126 h 595"/>
                <a:gd name="T26" fmla="*/ 75 w 464"/>
                <a:gd name="T27" fmla="*/ 201 h 595"/>
                <a:gd name="T28" fmla="*/ 75 w 464"/>
                <a:gd name="T29" fmla="*/ 145 h 595"/>
                <a:gd name="T30" fmla="*/ 70 w 464"/>
                <a:gd name="T31" fmla="*/ 75 h 595"/>
                <a:gd name="T32" fmla="*/ 117 w 464"/>
                <a:gd name="T33" fmla="*/ 61 h 595"/>
                <a:gd name="T34" fmla="*/ 56 w 464"/>
                <a:gd name="T35" fmla="*/ 492 h 595"/>
                <a:gd name="T36" fmla="*/ 56 w 464"/>
                <a:gd name="T37" fmla="*/ 492 h 595"/>
                <a:gd name="T38" fmla="*/ 37 w 464"/>
                <a:gd name="T39" fmla="*/ 295 h 595"/>
                <a:gd name="T40" fmla="*/ 80 w 464"/>
                <a:gd name="T41" fmla="*/ 300 h 595"/>
                <a:gd name="T42" fmla="*/ 117 w 464"/>
                <a:gd name="T43" fmla="*/ 243 h 595"/>
                <a:gd name="T44" fmla="*/ 164 w 464"/>
                <a:gd name="T45" fmla="*/ 159 h 595"/>
                <a:gd name="T46" fmla="*/ 164 w 464"/>
                <a:gd name="T47" fmla="*/ 211 h 595"/>
                <a:gd name="T48" fmla="*/ 164 w 464"/>
                <a:gd name="T49" fmla="*/ 304 h 595"/>
                <a:gd name="T50" fmla="*/ 230 w 464"/>
                <a:gd name="T51" fmla="*/ 309 h 595"/>
                <a:gd name="T52" fmla="*/ 230 w 464"/>
                <a:gd name="T53" fmla="*/ 28 h 595"/>
                <a:gd name="T54" fmla="*/ 436 w 464"/>
                <a:gd name="T55" fmla="*/ 84 h 595"/>
                <a:gd name="T56" fmla="*/ 422 w 464"/>
                <a:gd name="T57" fmla="*/ 295 h 595"/>
                <a:gd name="T58" fmla="*/ 361 w 464"/>
                <a:gd name="T59" fmla="*/ 300 h 595"/>
                <a:gd name="T60" fmla="*/ 370 w 464"/>
                <a:gd name="T61" fmla="*/ 121 h 595"/>
                <a:gd name="T62" fmla="*/ 300 w 464"/>
                <a:gd name="T63" fmla="*/ 107 h 595"/>
                <a:gd name="T64" fmla="*/ 295 w 464"/>
                <a:gd name="T65" fmla="*/ 304 h 595"/>
                <a:gd name="T66" fmla="*/ 230 w 464"/>
                <a:gd name="T67" fmla="*/ 309 h 595"/>
                <a:gd name="T68" fmla="*/ 230 w 464"/>
                <a:gd name="T69" fmla="*/ 562 h 595"/>
                <a:gd name="T70" fmla="*/ 117 w 464"/>
                <a:gd name="T71" fmla="*/ 520 h 595"/>
                <a:gd name="T72" fmla="*/ 56 w 464"/>
                <a:gd name="T73" fmla="*/ 492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64" h="595">
                  <a:moveTo>
                    <a:pt x="230" y="595"/>
                  </a:moveTo>
                  <a:lnTo>
                    <a:pt x="431" y="511"/>
                  </a:lnTo>
                  <a:lnTo>
                    <a:pt x="464" y="65"/>
                  </a:lnTo>
                  <a:lnTo>
                    <a:pt x="230" y="0"/>
                  </a:lnTo>
                  <a:lnTo>
                    <a:pt x="117" y="32"/>
                  </a:lnTo>
                  <a:lnTo>
                    <a:pt x="0" y="65"/>
                  </a:lnTo>
                  <a:lnTo>
                    <a:pt x="28" y="511"/>
                  </a:lnTo>
                  <a:lnTo>
                    <a:pt x="117" y="548"/>
                  </a:lnTo>
                  <a:lnTo>
                    <a:pt x="230" y="595"/>
                  </a:lnTo>
                  <a:close/>
                  <a:moveTo>
                    <a:pt x="117" y="61"/>
                  </a:moveTo>
                  <a:lnTo>
                    <a:pt x="117" y="61"/>
                  </a:lnTo>
                  <a:lnTo>
                    <a:pt x="164" y="46"/>
                  </a:lnTo>
                  <a:lnTo>
                    <a:pt x="117" y="126"/>
                  </a:lnTo>
                  <a:lnTo>
                    <a:pt x="75" y="201"/>
                  </a:lnTo>
                  <a:lnTo>
                    <a:pt x="75" y="145"/>
                  </a:lnTo>
                  <a:lnTo>
                    <a:pt x="70" y="75"/>
                  </a:lnTo>
                  <a:lnTo>
                    <a:pt x="117" y="61"/>
                  </a:lnTo>
                  <a:close/>
                  <a:moveTo>
                    <a:pt x="56" y="492"/>
                  </a:moveTo>
                  <a:lnTo>
                    <a:pt x="56" y="492"/>
                  </a:lnTo>
                  <a:lnTo>
                    <a:pt x="37" y="295"/>
                  </a:lnTo>
                  <a:lnTo>
                    <a:pt x="80" y="300"/>
                  </a:lnTo>
                  <a:lnTo>
                    <a:pt x="117" y="243"/>
                  </a:lnTo>
                  <a:lnTo>
                    <a:pt x="164" y="159"/>
                  </a:lnTo>
                  <a:lnTo>
                    <a:pt x="164" y="211"/>
                  </a:lnTo>
                  <a:lnTo>
                    <a:pt x="164" y="304"/>
                  </a:lnTo>
                  <a:lnTo>
                    <a:pt x="230" y="309"/>
                  </a:lnTo>
                  <a:lnTo>
                    <a:pt x="230" y="28"/>
                  </a:lnTo>
                  <a:lnTo>
                    <a:pt x="436" y="84"/>
                  </a:lnTo>
                  <a:lnTo>
                    <a:pt x="422" y="295"/>
                  </a:lnTo>
                  <a:lnTo>
                    <a:pt x="361" y="300"/>
                  </a:lnTo>
                  <a:lnTo>
                    <a:pt x="370" y="121"/>
                  </a:lnTo>
                  <a:lnTo>
                    <a:pt x="300" y="107"/>
                  </a:lnTo>
                  <a:lnTo>
                    <a:pt x="295" y="304"/>
                  </a:lnTo>
                  <a:lnTo>
                    <a:pt x="230" y="309"/>
                  </a:lnTo>
                  <a:lnTo>
                    <a:pt x="230" y="562"/>
                  </a:lnTo>
                  <a:lnTo>
                    <a:pt x="117" y="520"/>
                  </a:lnTo>
                  <a:lnTo>
                    <a:pt x="56" y="49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F28B5AF9-254C-449F-805A-200563AB24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95" name="Слайд think-cell" r:id="rId6" imgW="359" imgH="360" progId="TCLayout.ActiveDocument.1">
                  <p:embed/>
                </p:oleObj>
              </mc:Choice>
              <mc:Fallback>
                <p:oleObj name="Слайд think-cell" r:id="rId6" imgW="359" imgH="360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F28B5AF9-254C-449F-805A-200563AB24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id="{D7EC1761-6312-4AB4-8DAC-F08C2EC72D3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5467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623392" y="4581129"/>
            <a:ext cx="10142632" cy="720197"/>
          </a:xfrm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0"/>
              </a:spcBef>
            </a:pPr>
            <a:r>
              <a:rPr lang="ru-RU" b="1" dirty="0" smtClean="0">
                <a:solidFill>
                  <a:srgbClr val="2D2B8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ФОРМИРОВАНИЕ НАВЫКОВ </a:t>
            </a:r>
            <a:r>
              <a:rPr lang="en-US" b="1" dirty="0" smtClean="0">
                <a:solidFill>
                  <a:srgbClr val="2D2B8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XXI </a:t>
            </a:r>
            <a:r>
              <a:rPr lang="ru-RU" b="1" dirty="0" smtClean="0">
                <a:solidFill>
                  <a:srgbClr val="2D2B8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ЕКА И ПОДГОТОВКА К ИССЛЕДОВАНИЯМ </a:t>
            </a:r>
            <a:r>
              <a:rPr lang="en-US" b="1" dirty="0" smtClean="0">
                <a:solidFill>
                  <a:srgbClr val="2D2B8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ISA</a:t>
            </a:r>
            <a:r>
              <a:rPr lang="ru-RU" b="1" dirty="0" smtClean="0">
                <a:solidFill>
                  <a:srgbClr val="2D2B8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:</a:t>
            </a:r>
            <a:endParaRPr lang="ru-RU" b="1" dirty="0">
              <a:solidFill>
                <a:srgbClr val="2D2B8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l">
              <a:spcBef>
                <a:spcPts val="0"/>
              </a:spcBef>
            </a:pPr>
            <a:r>
              <a:rPr lang="ru-RU" sz="2800" dirty="0">
                <a:solidFill>
                  <a:srgbClr val="2D2B8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</a:t>
            </a:r>
            <a:r>
              <a:rPr lang="ru-RU" sz="2800" dirty="0" smtClean="0">
                <a:solidFill>
                  <a:srgbClr val="2D2B8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ерия «Учимся для жизни»</a:t>
            </a:r>
            <a:r>
              <a:rPr lang="ru-RU" sz="2800" dirty="0" smtClean="0">
                <a:solidFill>
                  <a:srgbClr val="2D2B8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endParaRPr lang="ru-RU" sz="2800" dirty="0">
              <a:solidFill>
                <a:srgbClr val="2D2B8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8" name="AutoShape 4"/>
          <p:cNvSpPr>
            <a:spLocks noChangeAspect="1" noChangeArrowheads="1" noTextEdit="1"/>
          </p:cNvSpPr>
          <p:nvPr/>
        </p:nvSpPr>
        <p:spPr bwMode="auto">
          <a:xfrm>
            <a:off x="10099577" y="300998"/>
            <a:ext cx="1500931" cy="518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2400" dirty="0">
              <a:solidFill>
                <a:schemeClr val="bg1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86184" y="6405331"/>
            <a:ext cx="11819633" cy="2871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933" dirty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се права защищены. Никакая часть презентации не может быть воспроизведена в какой бы то ни было форме и какими бы то ни было средствами, включая размещение в Интернете и в корпоративных сетях, а также запись в память ЭВМ, </a:t>
            </a:r>
            <a:r>
              <a:rPr lang="ru-RU" sz="933" dirty="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для </a:t>
            </a:r>
            <a:r>
              <a:rPr lang="ru-RU" sz="933" dirty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частного или публичного использования, без письменного разрешения владельца авторских прав. © АО «Издательство «Просвещение», 20</a:t>
            </a:r>
            <a:r>
              <a:rPr lang="en-US" sz="933" dirty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0</a:t>
            </a:r>
            <a:r>
              <a:rPr lang="ru-RU" sz="933" dirty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г.</a:t>
            </a:r>
          </a:p>
        </p:txBody>
      </p:sp>
      <p:grpSp>
        <p:nvGrpSpPr>
          <p:cNvPr id="17" name="Группа 16"/>
          <p:cNvGrpSpPr/>
          <p:nvPr/>
        </p:nvGrpSpPr>
        <p:grpSpPr>
          <a:xfrm>
            <a:off x="9254339" y="1860330"/>
            <a:ext cx="1023938" cy="336550"/>
            <a:chOff x="8812213" y="4892675"/>
            <a:chExt cx="1023938" cy="336550"/>
          </a:xfrm>
        </p:grpSpPr>
        <p:sp>
          <p:nvSpPr>
            <p:cNvPr id="15" name="Freeform 13"/>
            <p:cNvSpPr>
              <a:spLocks noEditPoints="1"/>
            </p:cNvSpPr>
            <p:nvPr/>
          </p:nvSpPr>
          <p:spPr bwMode="auto">
            <a:xfrm>
              <a:off x="8812213" y="4892675"/>
              <a:ext cx="215900" cy="331788"/>
            </a:xfrm>
            <a:custGeom>
              <a:avLst/>
              <a:gdLst>
                <a:gd name="T0" fmla="*/ 137 w 592"/>
                <a:gd name="T1" fmla="*/ 34 h 904"/>
                <a:gd name="T2" fmla="*/ 126 w 592"/>
                <a:gd name="T3" fmla="*/ 55 h 904"/>
                <a:gd name="T4" fmla="*/ 133 w 592"/>
                <a:gd name="T5" fmla="*/ 81 h 904"/>
                <a:gd name="T6" fmla="*/ 146 w 592"/>
                <a:gd name="T7" fmla="*/ 112 h 904"/>
                <a:gd name="T8" fmla="*/ 138 w 592"/>
                <a:gd name="T9" fmla="*/ 135 h 904"/>
                <a:gd name="T10" fmla="*/ 57 w 592"/>
                <a:gd name="T11" fmla="*/ 176 h 904"/>
                <a:gd name="T12" fmla="*/ 42 w 592"/>
                <a:gd name="T13" fmla="*/ 191 h 904"/>
                <a:gd name="T14" fmla="*/ 23 w 592"/>
                <a:gd name="T15" fmla="*/ 240 h 904"/>
                <a:gd name="T16" fmla="*/ 6 w 592"/>
                <a:gd name="T17" fmla="*/ 292 h 904"/>
                <a:gd name="T18" fmla="*/ 7 w 592"/>
                <a:gd name="T19" fmla="*/ 326 h 904"/>
                <a:gd name="T20" fmla="*/ 21 w 592"/>
                <a:gd name="T21" fmla="*/ 371 h 904"/>
                <a:gd name="T22" fmla="*/ 14 w 592"/>
                <a:gd name="T23" fmla="*/ 421 h 904"/>
                <a:gd name="T24" fmla="*/ 175 w 592"/>
                <a:gd name="T25" fmla="*/ 620 h 904"/>
                <a:gd name="T26" fmla="*/ 208 w 592"/>
                <a:gd name="T27" fmla="*/ 661 h 904"/>
                <a:gd name="T28" fmla="*/ 70 w 592"/>
                <a:gd name="T29" fmla="*/ 666 h 904"/>
                <a:gd name="T30" fmla="*/ 86 w 592"/>
                <a:gd name="T31" fmla="*/ 709 h 904"/>
                <a:gd name="T32" fmla="*/ 14 w 592"/>
                <a:gd name="T33" fmla="*/ 768 h 904"/>
                <a:gd name="T34" fmla="*/ 205 w 592"/>
                <a:gd name="T35" fmla="*/ 745 h 904"/>
                <a:gd name="T36" fmla="*/ 275 w 592"/>
                <a:gd name="T37" fmla="*/ 787 h 904"/>
                <a:gd name="T38" fmla="*/ 275 w 592"/>
                <a:gd name="T39" fmla="*/ 756 h 904"/>
                <a:gd name="T40" fmla="*/ 288 w 592"/>
                <a:gd name="T41" fmla="*/ 764 h 904"/>
                <a:gd name="T42" fmla="*/ 295 w 592"/>
                <a:gd name="T43" fmla="*/ 803 h 904"/>
                <a:gd name="T44" fmla="*/ 287 w 592"/>
                <a:gd name="T45" fmla="*/ 846 h 904"/>
                <a:gd name="T46" fmla="*/ 316 w 592"/>
                <a:gd name="T47" fmla="*/ 867 h 904"/>
                <a:gd name="T48" fmla="*/ 334 w 592"/>
                <a:gd name="T49" fmla="*/ 892 h 904"/>
                <a:gd name="T50" fmla="*/ 389 w 592"/>
                <a:gd name="T51" fmla="*/ 898 h 904"/>
                <a:gd name="T52" fmla="*/ 375 w 592"/>
                <a:gd name="T53" fmla="*/ 852 h 904"/>
                <a:gd name="T54" fmla="*/ 340 w 592"/>
                <a:gd name="T55" fmla="*/ 764 h 904"/>
                <a:gd name="T56" fmla="*/ 352 w 592"/>
                <a:gd name="T57" fmla="*/ 756 h 904"/>
                <a:gd name="T58" fmla="*/ 436 w 592"/>
                <a:gd name="T59" fmla="*/ 745 h 904"/>
                <a:gd name="T60" fmla="*/ 352 w 592"/>
                <a:gd name="T61" fmla="*/ 702 h 904"/>
                <a:gd name="T62" fmla="*/ 400 w 592"/>
                <a:gd name="T63" fmla="*/ 655 h 904"/>
                <a:gd name="T64" fmla="*/ 425 w 592"/>
                <a:gd name="T65" fmla="*/ 657 h 904"/>
                <a:gd name="T66" fmla="*/ 448 w 592"/>
                <a:gd name="T67" fmla="*/ 734 h 904"/>
                <a:gd name="T68" fmla="*/ 459 w 592"/>
                <a:gd name="T69" fmla="*/ 759 h 904"/>
                <a:gd name="T70" fmla="*/ 494 w 592"/>
                <a:gd name="T71" fmla="*/ 759 h 904"/>
                <a:gd name="T72" fmla="*/ 581 w 592"/>
                <a:gd name="T73" fmla="*/ 741 h 904"/>
                <a:gd name="T74" fmla="*/ 591 w 592"/>
                <a:gd name="T75" fmla="*/ 730 h 904"/>
                <a:gd name="T76" fmla="*/ 548 w 592"/>
                <a:gd name="T77" fmla="*/ 707 h 904"/>
                <a:gd name="T78" fmla="*/ 452 w 592"/>
                <a:gd name="T79" fmla="*/ 623 h 904"/>
                <a:gd name="T80" fmla="*/ 466 w 592"/>
                <a:gd name="T81" fmla="*/ 585 h 904"/>
                <a:gd name="T82" fmla="*/ 387 w 592"/>
                <a:gd name="T83" fmla="*/ 415 h 904"/>
                <a:gd name="T84" fmla="*/ 370 w 592"/>
                <a:gd name="T85" fmla="*/ 380 h 904"/>
                <a:gd name="T86" fmla="*/ 377 w 592"/>
                <a:gd name="T87" fmla="*/ 358 h 904"/>
                <a:gd name="T88" fmla="*/ 356 w 592"/>
                <a:gd name="T89" fmla="*/ 310 h 904"/>
                <a:gd name="T90" fmla="*/ 325 w 592"/>
                <a:gd name="T91" fmla="*/ 254 h 904"/>
                <a:gd name="T92" fmla="*/ 291 w 592"/>
                <a:gd name="T93" fmla="*/ 186 h 904"/>
                <a:gd name="T94" fmla="*/ 277 w 592"/>
                <a:gd name="T95" fmla="*/ 176 h 904"/>
                <a:gd name="T96" fmla="*/ 211 w 592"/>
                <a:gd name="T97" fmla="*/ 153 h 904"/>
                <a:gd name="T98" fmla="*/ 218 w 592"/>
                <a:gd name="T99" fmla="*/ 140 h 904"/>
                <a:gd name="T100" fmla="*/ 232 w 592"/>
                <a:gd name="T101" fmla="*/ 109 h 904"/>
                <a:gd name="T102" fmla="*/ 239 w 592"/>
                <a:gd name="T103" fmla="*/ 95 h 904"/>
                <a:gd name="T104" fmla="*/ 235 w 592"/>
                <a:gd name="T105" fmla="*/ 74 h 904"/>
                <a:gd name="T106" fmla="*/ 244 w 592"/>
                <a:gd name="T107" fmla="*/ 46 h 904"/>
                <a:gd name="T108" fmla="*/ 234 w 592"/>
                <a:gd name="T109" fmla="*/ 18 h 904"/>
                <a:gd name="T110" fmla="*/ 218 w 592"/>
                <a:gd name="T111" fmla="*/ 11 h 904"/>
                <a:gd name="T112" fmla="*/ 202 w 592"/>
                <a:gd name="T113" fmla="*/ 0 h 904"/>
                <a:gd name="T114" fmla="*/ 163 w 592"/>
                <a:gd name="T115" fmla="*/ 11 h 904"/>
                <a:gd name="T116" fmla="*/ 258 w 592"/>
                <a:gd name="T117" fmla="*/ 620 h 904"/>
                <a:gd name="T118" fmla="*/ 237 w 592"/>
                <a:gd name="T119" fmla="*/ 678 h 904"/>
                <a:gd name="T120" fmla="*/ 227 w 592"/>
                <a:gd name="T121" fmla="*/ 645 h 904"/>
                <a:gd name="T122" fmla="*/ 231 w 592"/>
                <a:gd name="T123" fmla="*/ 90 h 9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92" h="904">
                  <a:moveTo>
                    <a:pt x="163" y="11"/>
                  </a:moveTo>
                  <a:cubicBezTo>
                    <a:pt x="161" y="13"/>
                    <a:pt x="157" y="13"/>
                    <a:pt x="155" y="15"/>
                  </a:cubicBezTo>
                  <a:cubicBezTo>
                    <a:pt x="149" y="21"/>
                    <a:pt x="142" y="27"/>
                    <a:pt x="137" y="34"/>
                  </a:cubicBezTo>
                  <a:cubicBezTo>
                    <a:pt x="137" y="34"/>
                    <a:pt x="132" y="39"/>
                    <a:pt x="133" y="39"/>
                  </a:cubicBezTo>
                  <a:cubicBezTo>
                    <a:pt x="128" y="39"/>
                    <a:pt x="129" y="47"/>
                    <a:pt x="128" y="50"/>
                  </a:cubicBezTo>
                  <a:cubicBezTo>
                    <a:pt x="127" y="52"/>
                    <a:pt x="126" y="53"/>
                    <a:pt x="126" y="55"/>
                  </a:cubicBezTo>
                  <a:cubicBezTo>
                    <a:pt x="126" y="57"/>
                    <a:pt x="126" y="60"/>
                    <a:pt x="127" y="62"/>
                  </a:cubicBezTo>
                  <a:cubicBezTo>
                    <a:pt x="127" y="65"/>
                    <a:pt x="127" y="69"/>
                    <a:pt x="128" y="72"/>
                  </a:cubicBezTo>
                  <a:cubicBezTo>
                    <a:pt x="130" y="75"/>
                    <a:pt x="132" y="78"/>
                    <a:pt x="133" y="81"/>
                  </a:cubicBezTo>
                  <a:cubicBezTo>
                    <a:pt x="133" y="84"/>
                    <a:pt x="133" y="88"/>
                    <a:pt x="133" y="92"/>
                  </a:cubicBezTo>
                  <a:cubicBezTo>
                    <a:pt x="134" y="94"/>
                    <a:pt x="134" y="96"/>
                    <a:pt x="135" y="97"/>
                  </a:cubicBezTo>
                  <a:cubicBezTo>
                    <a:pt x="138" y="103"/>
                    <a:pt x="148" y="105"/>
                    <a:pt x="146" y="112"/>
                  </a:cubicBezTo>
                  <a:cubicBezTo>
                    <a:pt x="145" y="118"/>
                    <a:pt x="148" y="125"/>
                    <a:pt x="145" y="130"/>
                  </a:cubicBezTo>
                  <a:cubicBezTo>
                    <a:pt x="144" y="131"/>
                    <a:pt x="143" y="132"/>
                    <a:pt x="142" y="133"/>
                  </a:cubicBezTo>
                  <a:cubicBezTo>
                    <a:pt x="140" y="134"/>
                    <a:pt x="139" y="134"/>
                    <a:pt x="138" y="135"/>
                  </a:cubicBezTo>
                  <a:cubicBezTo>
                    <a:pt x="135" y="138"/>
                    <a:pt x="129" y="149"/>
                    <a:pt x="128" y="153"/>
                  </a:cubicBezTo>
                  <a:cubicBezTo>
                    <a:pt x="126" y="157"/>
                    <a:pt x="125" y="161"/>
                    <a:pt x="121" y="162"/>
                  </a:cubicBezTo>
                  <a:cubicBezTo>
                    <a:pt x="101" y="168"/>
                    <a:pt x="78" y="171"/>
                    <a:pt x="57" y="176"/>
                  </a:cubicBezTo>
                  <a:cubicBezTo>
                    <a:pt x="54" y="177"/>
                    <a:pt x="52" y="179"/>
                    <a:pt x="49" y="181"/>
                  </a:cubicBezTo>
                  <a:cubicBezTo>
                    <a:pt x="47" y="183"/>
                    <a:pt x="45" y="185"/>
                    <a:pt x="43" y="188"/>
                  </a:cubicBezTo>
                  <a:cubicBezTo>
                    <a:pt x="43" y="188"/>
                    <a:pt x="42" y="191"/>
                    <a:pt x="42" y="191"/>
                  </a:cubicBezTo>
                  <a:lnTo>
                    <a:pt x="24" y="192"/>
                  </a:lnTo>
                  <a:lnTo>
                    <a:pt x="27" y="224"/>
                  </a:lnTo>
                  <a:cubicBezTo>
                    <a:pt x="24" y="230"/>
                    <a:pt x="24" y="235"/>
                    <a:pt x="23" y="240"/>
                  </a:cubicBezTo>
                  <a:cubicBezTo>
                    <a:pt x="21" y="248"/>
                    <a:pt x="19" y="256"/>
                    <a:pt x="18" y="264"/>
                  </a:cubicBezTo>
                  <a:cubicBezTo>
                    <a:pt x="16" y="272"/>
                    <a:pt x="16" y="280"/>
                    <a:pt x="11" y="287"/>
                  </a:cubicBezTo>
                  <a:cubicBezTo>
                    <a:pt x="10" y="289"/>
                    <a:pt x="7" y="290"/>
                    <a:pt x="6" y="292"/>
                  </a:cubicBezTo>
                  <a:cubicBezTo>
                    <a:pt x="6" y="295"/>
                    <a:pt x="4" y="298"/>
                    <a:pt x="6" y="302"/>
                  </a:cubicBezTo>
                  <a:cubicBezTo>
                    <a:pt x="7" y="305"/>
                    <a:pt x="10" y="307"/>
                    <a:pt x="11" y="310"/>
                  </a:cubicBezTo>
                  <a:cubicBezTo>
                    <a:pt x="11" y="315"/>
                    <a:pt x="8" y="321"/>
                    <a:pt x="7" y="326"/>
                  </a:cubicBezTo>
                  <a:cubicBezTo>
                    <a:pt x="3" y="339"/>
                    <a:pt x="0" y="357"/>
                    <a:pt x="17" y="363"/>
                  </a:cubicBezTo>
                  <a:cubicBezTo>
                    <a:pt x="20" y="364"/>
                    <a:pt x="23" y="366"/>
                    <a:pt x="22" y="369"/>
                  </a:cubicBezTo>
                  <a:cubicBezTo>
                    <a:pt x="22" y="370"/>
                    <a:pt x="21" y="371"/>
                    <a:pt x="21" y="371"/>
                  </a:cubicBezTo>
                  <a:cubicBezTo>
                    <a:pt x="20" y="377"/>
                    <a:pt x="24" y="384"/>
                    <a:pt x="24" y="384"/>
                  </a:cubicBezTo>
                  <a:lnTo>
                    <a:pt x="13" y="388"/>
                  </a:lnTo>
                  <a:lnTo>
                    <a:pt x="14" y="421"/>
                  </a:lnTo>
                  <a:lnTo>
                    <a:pt x="33" y="421"/>
                  </a:lnTo>
                  <a:cubicBezTo>
                    <a:pt x="37" y="428"/>
                    <a:pt x="56" y="616"/>
                    <a:pt x="61" y="622"/>
                  </a:cubicBezTo>
                  <a:cubicBezTo>
                    <a:pt x="99" y="621"/>
                    <a:pt x="175" y="620"/>
                    <a:pt x="175" y="620"/>
                  </a:cubicBezTo>
                  <a:cubicBezTo>
                    <a:pt x="175" y="620"/>
                    <a:pt x="182" y="642"/>
                    <a:pt x="184" y="644"/>
                  </a:cubicBezTo>
                  <a:lnTo>
                    <a:pt x="209" y="645"/>
                  </a:lnTo>
                  <a:lnTo>
                    <a:pt x="208" y="661"/>
                  </a:lnTo>
                  <a:lnTo>
                    <a:pt x="200" y="661"/>
                  </a:lnTo>
                  <a:cubicBezTo>
                    <a:pt x="200" y="661"/>
                    <a:pt x="199" y="678"/>
                    <a:pt x="197" y="680"/>
                  </a:cubicBezTo>
                  <a:cubicBezTo>
                    <a:pt x="197" y="681"/>
                    <a:pt x="70" y="666"/>
                    <a:pt x="70" y="666"/>
                  </a:cubicBezTo>
                  <a:cubicBezTo>
                    <a:pt x="65" y="665"/>
                    <a:pt x="52" y="677"/>
                    <a:pt x="47" y="679"/>
                  </a:cubicBezTo>
                  <a:lnTo>
                    <a:pt x="47" y="699"/>
                  </a:lnTo>
                  <a:lnTo>
                    <a:pt x="86" y="709"/>
                  </a:lnTo>
                  <a:cubicBezTo>
                    <a:pt x="86" y="709"/>
                    <a:pt x="14" y="730"/>
                    <a:pt x="0" y="734"/>
                  </a:cubicBezTo>
                  <a:lnTo>
                    <a:pt x="0" y="761"/>
                  </a:lnTo>
                  <a:lnTo>
                    <a:pt x="14" y="768"/>
                  </a:lnTo>
                  <a:lnTo>
                    <a:pt x="196" y="743"/>
                  </a:lnTo>
                  <a:cubicBezTo>
                    <a:pt x="196" y="743"/>
                    <a:pt x="198" y="742"/>
                    <a:pt x="199" y="742"/>
                  </a:cubicBezTo>
                  <a:cubicBezTo>
                    <a:pt x="202" y="742"/>
                    <a:pt x="205" y="745"/>
                    <a:pt x="205" y="745"/>
                  </a:cubicBezTo>
                  <a:lnTo>
                    <a:pt x="246" y="808"/>
                  </a:lnTo>
                  <a:lnTo>
                    <a:pt x="273" y="807"/>
                  </a:lnTo>
                  <a:cubicBezTo>
                    <a:pt x="273" y="807"/>
                    <a:pt x="276" y="793"/>
                    <a:pt x="275" y="787"/>
                  </a:cubicBezTo>
                  <a:cubicBezTo>
                    <a:pt x="270" y="772"/>
                    <a:pt x="255" y="740"/>
                    <a:pt x="255" y="740"/>
                  </a:cubicBezTo>
                  <a:lnTo>
                    <a:pt x="273" y="741"/>
                  </a:lnTo>
                  <a:lnTo>
                    <a:pt x="275" y="756"/>
                  </a:lnTo>
                  <a:cubicBezTo>
                    <a:pt x="275" y="756"/>
                    <a:pt x="279" y="760"/>
                    <a:pt x="281" y="760"/>
                  </a:cubicBezTo>
                  <a:cubicBezTo>
                    <a:pt x="281" y="761"/>
                    <a:pt x="284" y="762"/>
                    <a:pt x="284" y="762"/>
                  </a:cubicBezTo>
                  <a:cubicBezTo>
                    <a:pt x="284" y="762"/>
                    <a:pt x="288" y="763"/>
                    <a:pt x="288" y="764"/>
                  </a:cubicBezTo>
                  <a:cubicBezTo>
                    <a:pt x="291" y="764"/>
                    <a:pt x="293" y="766"/>
                    <a:pt x="293" y="766"/>
                  </a:cubicBezTo>
                  <a:cubicBezTo>
                    <a:pt x="293" y="766"/>
                    <a:pt x="294" y="781"/>
                    <a:pt x="294" y="785"/>
                  </a:cubicBezTo>
                  <a:cubicBezTo>
                    <a:pt x="295" y="791"/>
                    <a:pt x="296" y="797"/>
                    <a:pt x="295" y="803"/>
                  </a:cubicBezTo>
                  <a:cubicBezTo>
                    <a:pt x="293" y="808"/>
                    <a:pt x="289" y="812"/>
                    <a:pt x="288" y="818"/>
                  </a:cubicBezTo>
                  <a:cubicBezTo>
                    <a:pt x="287" y="822"/>
                    <a:pt x="287" y="826"/>
                    <a:pt x="287" y="831"/>
                  </a:cubicBezTo>
                  <a:cubicBezTo>
                    <a:pt x="287" y="836"/>
                    <a:pt x="286" y="841"/>
                    <a:pt x="287" y="846"/>
                  </a:cubicBezTo>
                  <a:cubicBezTo>
                    <a:pt x="287" y="851"/>
                    <a:pt x="288" y="856"/>
                    <a:pt x="290" y="860"/>
                  </a:cubicBezTo>
                  <a:cubicBezTo>
                    <a:pt x="292" y="863"/>
                    <a:pt x="293" y="865"/>
                    <a:pt x="295" y="866"/>
                  </a:cubicBezTo>
                  <a:cubicBezTo>
                    <a:pt x="297" y="867"/>
                    <a:pt x="311" y="871"/>
                    <a:pt x="316" y="867"/>
                  </a:cubicBezTo>
                  <a:cubicBezTo>
                    <a:pt x="318" y="866"/>
                    <a:pt x="318" y="870"/>
                    <a:pt x="319" y="870"/>
                  </a:cubicBezTo>
                  <a:cubicBezTo>
                    <a:pt x="321" y="872"/>
                    <a:pt x="323" y="877"/>
                    <a:pt x="325" y="880"/>
                  </a:cubicBezTo>
                  <a:cubicBezTo>
                    <a:pt x="328" y="884"/>
                    <a:pt x="331" y="888"/>
                    <a:pt x="334" y="892"/>
                  </a:cubicBezTo>
                  <a:cubicBezTo>
                    <a:pt x="337" y="895"/>
                    <a:pt x="341" y="896"/>
                    <a:pt x="344" y="898"/>
                  </a:cubicBezTo>
                  <a:cubicBezTo>
                    <a:pt x="354" y="904"/>
                    <a:pt x="368" y="901"/>
                    <a:pt x="379" y="901"/>
                  </a:cubicBezTo>
                  <a:cubicBezTo>
                    <a:pt x="383" y="901"/>
                    <a:pt x="385" y="899"/>
                    <a:pt x="389" y="898"/>
                  </a:cubicBezTo>
                  <a:cubicBezTo>
                    <a:pt x="391" y="895"/>
                    <a:pt x="393" y="894"/>
                    <a:pt x="394" y="890"/>
                  </a:cubicBezTo>
                  <a:cubicBezTo>
                    <a:pt x="395" y="881"/>
                    <a:pt x="391" y="871"/>
                    <a:pt x="386" y="864"/>
                  </a:cubicBezTo>
                  <a:cubicBezTo>
                    <a:pt x="383" y="859"/>
                    <a:pt x="378" y="857"/>
                    <a:pt x="375" y="852"/>
                  </a:cubicBezTo>
                  <a:cubicBezTo>
                    <a:pt x="368" y="843"/>
                    <a:pt x="362" y="833"/>
                    <a:pt x="354" y="823"/>
                  </a:cubicBezTo>
                  <a:cubicBezTo>
                    <a:pt x="342" y="808"/>
                    <a:pt x="338" y="797"/>
                    <a:pt x="339" y="777"/>
                  </a:cubicBezTo>
                  <a:cubicBezTo>
                    <a:pt x="339" y="775"/>
                    <a:pt x="338" y="766"/>
                    <a:pt x="340" y="764"/>
                  </a:cubicBezTo>
                  <a:cubicBezTo>
                    <a:pt x="342" y="762"/>
                    <a:pt x="345" y="761"/>
                    <a:pt x="348" y="760"/>
                  </a:cubicBezTo>
                  <a:cubicBezTo>
                    <a:pt x="349" y="760"/>
                    <a:pt x="350" y="759"/>
                    <a:pt x="350" y="758"/>
                  </a:cubicBezTo>
                  <a:cubicBezTo>
                    <a:pt x="350" y="759"/>
                    <a:pt x="352" y="756"/>
                    <a:pt x="352" y="756"/>
                  </a:cubicBezTo>
                  <a:cubicBezTo>
                    <a:pt x="352" y="752"/>
                    <a:pt x="352" y="747"/>
                    <a:pt x="352" y="743"/>
                  </a:cubicBezTo>
                  <a:lnTo>
                    <a:pt x="422" y="751"/>
                  </a:lnTo>
                  <a:cubicBezTo>
                    <a:pt x="422" y="751"/>
                    <a:pt x="435" y="745"/>
                    <a:pt x="436" y="745"/>
                  </a:cubicBezTo>
                  <a:lnTo>
                    <a:pt x="436" y="724"/>
                  </a:lnTo>
                  <a:cubicBezTo>
                    <a:pt x="435" y="724"/>
                    <a:pt x="435" y="721"/>
                    <a:pt x="433" y="722"/>
                  </a:cubicBezTo>
                  <a:cubicBezTo>
                    <a:pt x="432" y="722"/>
                    <a:pt x="353" y="703"/>
                    <a:pt x="352" y="702"/>
                  </a:cubicBezTo>
                  <a:cubicBezTo>
                    <a:pt x="352" y="702"/>
                    <a:pt x="355" y="630"/>
                    <a:pt x="355" y="617"/>
                  </a:cubicBezTo>
                  <a:cubicBezTo>
                    <a:pt x="362" y="619"/>
                    <a:pt x="375" y="613"/>
                    <a:pt x="376" y="622"/>
                  </a:cubicBezTo>
                  <a:cubicBezTo>
                    <a:pt x="377" y="626"/>
                    <a:pt x="397" y="652"/>
                    <a:pt x="400" y="655"/>
                  </a:cubicBezTo>
                  <a:cubicBezTo>
                    <a:pt x="401" y="655"/>
                    <a:pt x="414" y="650"/>
                    <a:pt x="419" y="648"/>
                  </a:cubicBezTo>
                  <a:lnTo>
                    <a:pt x="421" y="650"/>
                  </a:lnTo>
                  <a:cubicBezTo>
                    <a:pt x="422" y="651"/>
                    <a:pt x="424" y="656"/>
                    <a:pt x="425" y="657"/>
                  </a:cubicBezTo>
                  <a:cubicBezTo>
                    <a:pt x="430" y="664"/>
                    <a:pt x="435" y="671"/>
                    <a:pt x="437" y="680"/>
                  </a:cubicBezTo>
                  <a:cubicBezTo>
                    <a:pt x="438" y="684"/>
                    <a:pt x="442" y="687"/>
                    <a:pt x="444" y="691"/>
                  </a:cubicBezTo>
                  <a:cubicBezTo>
                    <a:pt x="450" y="703"/>
                    <a:pt x="445" y="722"/>
                    <a:pt x="448" y="734"/>
                  </a:cubicBezTo>
                  <a:cubicBezTo>
                    <a:pt x="449" y="740"/>
                    <a:pt x="451" y="745"/>
                    <a:pt x="453" y="751"/>
                  </a:cubicBezTo>
                  <a:cubicBezTo>
                    <a:pt x="454" y="752"/>
                    <a:pt x="454" y="754"/>
                    <a:pt x="454" y="755"/>
                  </a:cubicBezTo>
                  <a:cubicBezTo>
                    <a:pt x="455" y="756"/>
                    <a:pt x="458" y="757"/>
                    <a:pt x="459" y="759"/>
                  </a:cubicBezTo>
                  <a:cubicBezTo>
                    <a:pt x="463" y="764"/>
                    <a:pt x="468" y="764"/>
                    <a:pt x="474" y="765"/>
                  </a:cubicBezTo>
                  <a:cubicBezTo>
                    <a:pt x="477" y="767"/>
                    <a:pt x="481" y="768"/>
                    <a:pt x="484" y="767"/>
                  </a:cubicBezTo>
                  <a:cubicBezTo>
                    <a:pt x="485" y="766"/>
                    <a:pt x="493" y="759"/>
                    <a:pt x="494" y="759"/>
                  </a:cubicBezTo>
                  <a:cubicBezTo>
                    <a:pt x="494" y="759"/>
                    <a:pt x="506" y="763"/>
                    <a:pt x="508" y="764"/>
                  </a:cubicBezTo>
                  <a:cubicBezTo>
                    <a:pt x="511" y="764"/>
                    <a:pt x="515" y="765"/>
                    <a:pt x="519" y="765"/>
                  </a:cubicBezTo>
                  <a:cubicBezTo>
                    <a:pt x="543" y="766"/>
                    <a:pt x="562" y="754"/>
                    <a:pt x="581" y="741"/>
                  </a:cubicBezTo>
                  <a:cubicBezTo>
                    <a:pt x="583" y="739"/>
                    <a:pt x="585" y="738"/>
                    <a:pt x="587" y="736"/>
                  </a:cubicBezTo>
                  <a:cubicBezTo>
                    <a:pt x="587" y="735"/>
                    <a:pt x="588" y="734"/>
                    <a:pt x="589" y="733"/>
                  </a:cubicBezTo>
                  <a:cubicBezTo>
                    <a:pt x="589" y="732"/>
                    <a:pt x="591" y="731"/>
                    <a:pt x="591" y="730"/>
                  </a:cubicBezTo>
                  <a:cubicBezTo>
                    <a:pt x="592" y="727"/>
                    <a:pt x="592" y="725"/>
                    <a:pt x="590" y="723"/>
                  </a:cubicBezTo>
                  <a:cubicBezTo>
                    <a:pt x="589" y="721"/>
                    <a:pt x="587" y="717"/>
                    <a:pt x="585" y="716"/>
                  </a:cubicBezTo>
                  <a:cubicBezTo>
                    <a:pt x="577" y="709"/>
                    <a:pt x="558" y="711"/>
                    <a:pt x="548" y="707"/>
                  </a:cubicBezTo>
                  <a:cubicBezTo>
                    <a:pt x="536" y="704"/>
                    <a:pt x="525" y="698"/>
                    <a:pt x="515" y="691"/>
                  </a:cubicBezTo>
                  <a:cubicBezTo>
                    <a:pt x="495" y="677"/>
                    <a:pt x="479" y="657"/>
                    <a:pt x="464" y="639"/>
                  </a:cubicBezTo>
                  <a:cubicBezTo>
                    <a:pt x="460" y="634"/>
                    <a:pt x="455" y="629"/>
                    <a:pt x="452" y="623"/>
                  </a:cubicBezTo>
                  <a:cubicBezTo>
                    <a:pt x="450" y="620"/>
                    <a:pt x="450" y="617"/>
                    <a:pt x="450" y="617"/>
                  </a:cubicBezTo>
                  <a:cubicBezTo>
                    <a:pt x="450" y="617"/>
                    <a:pt x="455" y="609"/>
                    <a:pt x="458" y="603"/>
                  </a:cubicBezTo>
                  <a:cubicBezTo>
                    <a:pt x="461" y="597"/>
                    <a:pt x="464" y="591"/>
                    <a:pt x="466" y="585"/>
                  </a:cubicBezTo>
                  <a:cubicBezTo>
                    <a:pt x="466" y="584"/>
                    <a:pt x="468" y="575"/>
                    <a:pt x="469" y="575"/>
                  </a:cubicBezTo>
                  <a:cubicBezTo>
                    <a:pt x="468" y="574"/>
                    <a:pt x="382" y="468"/>
                    <a:pt x="382" y="468"/>
                  </a:cubicBezTo>
                  <a:cubicBezTo>
                    <a:pt x="382" y="468"/>
                    <a:pt x="386" y="416"/>
                    <a:pt x="387" y="415"/>
                  </a:cubicBezTo>
                  <a:cubicBezTo>
                    <a:pt x="398" y="415"/>
                    <a:pt x="420" y="414"/>
                    <a:pt x="421" y="413"/>
                  </a:cubicBezTo>
                  <a:cubicBezTo>
                    <a:pt x="421" y="413"/>
                    <a:pt x="420" y="383"/>
                    <a:pt x="419" y="380"/>
                  </a:cubicBezTo>
                  <a:lnTo>
                    <a:pt x="370" y="380"/>
                  </a:lnTo>
                  <a:cubicBezTo>
                    <a:pt x="372" y="377"/>
                    <a:pt x="372" y="374"/>
                    <a:pt x="373" y="371"/>
                  </a:cubicBezTo>
                  <a:cubicBezTo>
                    <a:pt x="375" y="369"/>
                    <a:pt x="377" y="366"/>
                    <a:pt x="378" y="363"/>
                  </a:cubicBezTo>
                  <a:cubicBezTo>
                    <a:pt x="378" y="362"/>
                    <a:pt x="377" y="359"/>
                    <a:pt x="377" y="358"/>
                  </a:cubicBezTo>
                  <a:cubicBezTo>
                    <a:pt x="377" y="347"/>
                    <a:pt x="373" y="338"/>
                    <a:pt x="370" y="327"/>
                  </a:cubicBezTo>
                  <a:cubicBezTo>
                    <a:pt x="369" y="323"/>
                    <a:pt x="365" y="317"/>
                    <a:pt x="362" y="315"/>
                  </a:cubicBezTo>
                  <a:cubicBezTo>
                    <a:pt x="360" y="313"/>
                    <a:pt x="357" y="312"/>
                    <a:pt x="356" y="310"/>
                  </a:cubicBezTo>
                  <a:cubicBezTo>
                    <a:pt x="351" y="302"/>
                    <a:pt x="350" y="292"/>
                    <a:pt x="346" y="284"/>
                  </a:cubicBezTo>
                  <a:cubicBezTo>
                    <a:pt x="342" y="276"/>
                    <a:pt x="336" y="268"/>
                    <a:pt x="330" y="262"/>
                  </a:cubicBezTo>
                  <a:cubicBezTo>
                    <a:pt x="328" y="260"/>
                    <a:pt x="327" y="256"/>
                    <a:pt x="325" y="254"/>
                  </a:cubicBezTo>
                  <a:cubicBezTo>
                    <a:pt x="323" y="251"/>
                    <a:pt x="321" y="247"/>
                    <a:pt x="321" y="247"/>
                  </a:cubicBezTo>
                  <a:cubicBezTo>
                    <a:pt x="321" y="247"/>
                    <a:pt x="325" y="186"/>
                    <a:pt x="323" y="186"/>
                  </a:cubicBezTo>
                  <a:lnTo>
                    <a:pt x="291" y="186"/>
                  </a:lnTo>
                  <a:lnTo>
                    <a:pt x="286" y="181"/>
                  </a:lnTo>
                  <a:cubicBezTo>
                    <a:pt x="286" y="180"/>
                    <a:pt x="283" y="179"/>
                    <a:pt x="282" y="178"/>
                  </a:cubicBezTo>
                  <a:cubicBezTo>
                    <a:pt x="280" y="177"/>
                    <a:pt x="279" y="177"/>
                    <a:pt x="277" y="176"/>
                  </a:cubicBezTo>
                  <a:cubicBezTo>
                    <a:pt x="257" y="172"/>
                    <a:pt x="237" y="168"/>
                    <a:pt x="217" y="164"/>
                  </a:cubicBezTo>
                  <a:cubicBezTo>
                    <a:pt x="216" y="164"/>
                    <a:pt x="210" y="161"/>
                    <a:pt x="211" y="159"/>
                  </a:cubicBezTo>
                  <a:cubicBezTo>
                    <a:pt x="211" y="157"/>
                    <a:pt x="210" y="155"/>
                    <a:pt x="211" y="153"/>
                  </a:cubicBezTo>
                  <a:cubicBezTo>
                    <a:pt x="211" y="153"/>
                    <a:pt x="212" y="150"/>
                    <a:pt x="212" y="149"/>
                  </a:cubicBezTo>
                  <a:cubicBezTo>
                    <a:pt x="213" y="148"/>
                    <a:pt x="214" y="146"/>
                    <a:pt x="214" y="145"/>
                  </a:cubicBezTo>
                  <a:cubicBezTo>
                    <a:pt x="215" y="143"/>
                    <a:pt x="216" y="142"/>
                    <a:pt x="218" y="140"/>
                  </a:cubicBezTo>
                  <a:cubicBezTo>
                    <a:pt x="219" y="138"/>
                    <a:pt x="220" y="137"/>
                    <a:pt x="221" y="135"/>
                  </a:cubicBezTo>
                  <a:cubicBezTo>
                    <a:pt x="223" y="133"/>
                    <a:pt x="223" y="131"/>
                    <a:pt x="224" y="129"/>
                  </a:cubicBezTo>
                  <a:cubicBezTo>
                    <a:pt x="228" y="123"/>
                    <a:pt x="231" y="116"/>
                    <a:pt x="232" y="109"/>
                  </a:cubicBezTo>
                  <a:cubicBezTo>
                    <a:pt x="232" y="107"/>
                    <a:pt x="232" y="106"/>
                    <a:pt x="232" y="104"/>
                  </a:cubicBezTo>
                  <a:cubicBezTo>
                    <a:pt x="232" y="102"/>
                    <a:pt x="232" y="100"/>
                    <a:pt x="232" y="98"/>
                  </a:cubicBezTo>
                  <a:cubicBezTo>
                    <a:pt x="232" y="96"/>
                    <a:pt x="238" y="96"/>
                    <a:pt x="239" y="95"/>
                  </a:cubicBezTo>
                  <a:cubicBezTo>
                    <a:pt x="240" y="92"/>
                    <a:pt x="239" y="88"/>
                    <a:pt x="239" y="85"/>
                  </a:cubicBezTo>
                  <a:cubicBezTo>
                    <a:pt x="239" y="82"/>
                    <a:pt x="239" y="79"/>
                    <a:pt x="238" y="76"/>
                  </a:cubicBezTo>
                  <a:cubicBezTo>
                    <a:pt x="237" y="75"/>
                    <a:pt x="237" y="73"/>
                    <a:pt x="235" y="74"/>
                  </a:cubicBezTo>
                  <a:cubicBezTo>
                    <a:pt x="230" y="64"/>
                    <a:pt x="240" y="63"/>
                    <a:pt x="242" y="57"/>
                  </a:cubicBezTo>
                  <a:cubicBezTo>
                    <a:pt x="242" y="55"/>
                    <a:pt x="244" y="55"/>
                    <a:pt x="244" y="52"/>
                  </a:cubicBezTo>
                  <a:cubicBezTo>
                    <a:pt x="245" y="51"/>
                    <a:pt x="244" y="48"/>
                    <a:pt x="244" y="46"/>
                  </a:cubicBezTo>
                  <a:cubicBezTo>
                    <a:pt x="244" y="43"/>
                    <a:pt x="244" y="39"/>
                    <a:pt x="244" y="36"/>
                  </a:cubicBezTo>
                  <a:cubicBezTo>
                    <a:pt x="244" y="34"/>
                    <a:pt x="243" y="32"/>
                    <a:pt x="242" y="31"/>
                  </a:cubicBezTo>
                  <a:cubicBezTo>
                    <a:pt x="240" y="28"/>
                    <a:pt x="233" y="23"/>
                    <a:pt x="234" y="18"/>
                  </a:cubicBezTo>
                  <a:cubicBezTo>
                    <a:pt x="232" y="18"/>
                    <a:pt x="232" y="17"/>
                    <a:pt x="231" y="16"/>
                  </a:cubicBezTo>
                  <a:cubicBezTo>
                    <a:pt x="231" y="15"/>
                    <a:pt x="228" y="13"/>
                    <a:pt x="228" y="13"/>
                  </a:cubicBezTo>
                  <a:cubicBezTo>
                    <a:pt x="227" y="10"/>
                    <a:pt x="220" y="11"/>
                    <a:pt x="218" y="11"/>
                  </a:cubicBezTo>
                  <a:cubicBezTo>
                    <a:pt x="214" y="9"/>
                    <a:pt x="212" y="6"/>
                    <a:pt x="209" y="4"/>
                  </a:cubicBezTo>
                  <a:cubicBezTo>
                    <a:pt x="207" y="3"/>
                    <a:pt x="205" y="1"/>
                    <a:pt x="203" y="1"/>
                  </a:cubicBezTo>
                  <a:cubicBezTo>
                    <a:pt x="203" y="1"/>
                    <a:pt x="202" y="1"/>
                    <a:pt x="202" y="0"/>
                  </a:cubicBezTo>
                  <a:lnTo>
                    <a:pt x="183" y="0"/>
                  </a:lnTo>
                  <a:cubicBezTo>
                    <a:pt x="178" y="2"/>
                    <a:pt x="172" y="4"/>
                    <a:pt x="167" y="6"/>
                  </a:cubicBezTo>
                  <a:cubicBezTo>
                    <a:pt x="165" y="7"/>
                    <a:pt x="164" y="9"/>
                    <a:pt x="163" y="11"/>
                  </a:cubicBezTo>
                  <a:close/>
                  <a:moveTo>
                    <a:pt x="227" y="645"/>
                  </a:moveTo>
                  <a:cubicBezTo>
                    <a:pt x="233" y="645"/>
                    <a:pt x="253" y="645"/>
                    <a:pt x="253" y="645"/>
                  </a:cubicBezTo>
                  <a:lnTo>
                    <a:pt x="258" y="620"/>
                  </a:lnTo>
                  <a:lnTo>
                    <a:pt x="269" y="619"/>
                  </a:lnTo>
                  <a:lnTo>
                    <a:pt x="272" y="665"/>
                  </a:lnTo>
                  <a:lnTo>
                    <a:pt x="237" y="678"/>
                  </a:lnTo>
                  <a:lnTo>
                    <a:pt x="235" y="661"/>
                  </a:lnTo>
                  <a:lnTo>
                    <a:pt x="227" y="661"/>
                  </a:lnTo>
                  <a:lnTo>
                    <a:pt x="227" y="645"/>
                  </a:lnTo>
                  <a:close/>
                  <a:moveTo>
                    <a:pt x="234" y="80"/>
                  </a:moveTo>
                  <a:lnTo>
                    <a:pt x="234" y="90"/>
                  </a:lnTo>
                  <a:lnTo>
                    <a:pt x="231" y="90"/>
                  </a:lnTo>
                  <a:lnTo>
                    <a:pt x="231" y="83"/>
                  </a:lnTo>
                  <a:cubicBezTo>
                    <a:pt x="231" y="80"/>
                    <a:pt x="230" y="79"/>
                    <a:pt x="234" y="8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6" name="Freeform 14"/>
            <p:cNvSpPr>
              <a:spLocks noEditPoints="1"/>
            </p:cNvSpPr>
            <p:nvPr/>
          </p:nvSpPr>
          <p:spPr bwMode="auto">
            <a:xfrm>
              <a:off x="9069388" y="4899025"/>
              <a:ext cx="766763" cy="330200"/>
            </a:xfrm>
            <a:custGeom>
              <a:avLst/>
              <a:gdLst>
                <a:gd name="T0" fmla="*/ 1136 w 2101"/>
                <a:gd name="T1" fmla="*/ 435 h 902"/>
                <a:gd name="T2" fmla="*/ 878 w 2101"/>
                <a:gd name="T3" fmla="*/ 735 h 902"/>
                <a:gd name="T4" fmla="*/ 1348 w 2101"/>
                <a:gd name="T5" fmla="*/ 426 h 902"/>
                <a:gd name="T6" fmla="*/ 1907 w 2101"/>
                <a:gd name="T7" fmla="*/ 736 h 902"/>
                <a:gd name="T8" fmla="*/ 1628 w 2101"/>
                <a:gd name="T9" fmla="*/ 522 h 902"/>
                <a:gd name="T10" fmla="*/ 204 w 2101"/>
                <a:gd name="T11" fmla="*/ 738 h 902"/>
                <a:gd name="T12" fmla="*/ 351 w 2101"/>
                <a:gd name="T13" fmla="*/ 549 h 902"/>
                <a:gd name="T14" fmla="*/ 801 w 2101"/>
                <a:gd name="T15" fmla="*/ 735 h 902"/>
                <a:gd name="T16" fmla="*/ 0 w 2101"/>
                <a:gd name="T17" fmla="*/ 278 h 902"/>
                <a:gd name="T18" fmla="*/ 337 w 2101"/>
                <a:gd name="T19" fmla="*/ 607 h 902"/>
                <a:gd name="T20" fmla="*/ 1348 w 2101"/>
                <a:gd name="T21" fmla="*/ 686 h 902"/>
                <a:gd name="T22" fmla="*/ 1334 w 2101"/>
                <a:gd name="T23" fmla="*/ 157 h 902"/>
                <a:gd name="T24" fmla="*/ 1383 w 2101"/>
                <a:gd name="T25" fmla="*/ 79 h 902"/>
                <a:gd name="T26" fmla="*/ 1128 w 2101"/>
                <a:gd name="T27" fmla="*/ 101 h 902"/>
                <a:gd name="T28" fmla="*/ 1128 w 2101"/>
                <a:gd name="T29" fmla="*/ 101 h 902"/>
                <a:gd name="T30" fmla="*/ 1116 w 2101"/>
                <a:gd name="T31" fmla="*/ 56 h 902"/>
                <a:gd name="T32" fmla="*/ 1253 w 2101"/>
                <a:gd name="T33" fmla="*/ 80 h 902"/>
                <a:gd name="T34" fmla="*/ 1225 w 2101"/>
                <a:gd name="T35" fmla="*/ 180 h 902"/>
                <a:gd name="T36" fmla="*/ 984 w 2101"/>
                <a:gd name="T37" fmla="*/ 157 h 902"/>
                <a:gd name="T38" fmla="*/ 1064 w 2101"/>
                <a:gd name="T39" fmla="*/ 212 h 902"/>
                <a:gd name="T40" fmla="*/ 967 w 2101"/>
                <a:gd name="T41" fmla="*/ 131 h 902"/>
                <a:gd name="T42" fmla="*/ 505 w 2101"/>
                <a:gd name="T43" fmla="*/ 181 h 902"/>
                <a:gd name="T44" fmla="*/ 492 w 2101"/>
                <a:gd name="T45" fmla="*/ 112 h 902"/>
                <a:gd name="T46" fmla="*/ 497 w 2101"/>
                <a:gd name="T47" fmla="*/ 32 h 902"/>
                <a:gd name="T48" fmla="*/ 547 w 2101"/>
                <a:gd name="T49" fmla="*/ 12 h 902"/>
                <a:gd name="T50" fmla="*/ 563 w 2101"/>
                <a:gd name="T51" fmla="*/ 112 h 902"/>
                <a:gd name="T52" fmla="*/ 563 w 2101"/>
                <a:gd name="T53" fmla="*/ 225 h 902"/>
                <a:gd name="T54" fmla="*/ 492 w 2101"/>
                <a:gd name="T55" fmla="*/ 201 h 902"/>
                <a:gd name="T56" fmla="*/ 614 w 2101"/>
                <a:gd name="T57" fmla="*/ 194 h 902"/>
                <a:gd name="T58" fmla="*/ 622 w 2101"/>
                <a:gd name="T59" fmla="*/ 176 h 902"/>
                <a:gd name="T60" fmla="*/ 573 w 2101"/>
                <a:gd name="T61" fmla="*/ 112 h 902"/>
                <a:gd name="T62" fmla="*/ 573 w 2101"/>
                <a:gd name="T63" fmla="*/ 54 h 902"/>
                <a:gd name="T64" fmla="*/ 643 w 2101"/>
                <a:gd name="T65" fmla="*/ 33 h 902"/>
                <a:gd name="T66" fmla="*/ 655 w 2101"/>
                <a:gd name="T67" fmla="*/ 192 h 902"/>
                <a:gd name="T68" fmla="*/ 628 w 2101"/>
                <a:gd name="T69" fmla="*/ 190 h 902"/>
                <a:gd name="T70" fmla="*/ 573 w 2101"/>
                <a:gd name="T71" fmla="*/ 236 h 902"/>
                <a:gd name="T72" fmla="*/ 797 w 2101"/>
                <a:gd name="T73" fmla="*/ 91 h 902"/>
                <a:gd name="T74" fmla="*/ 792 w 2101"/>
                <a:gd name="T75" fmla="*/ 56 h 902"/>
                <a:gd name="T76" fmla="*/ 719 w 2101"/>
                <a:gd name="T77" fmla="*/ 56 h 902"/>
                <a:gd name="T78" fmla="*/ 843 w 2101"/>
                <a:gd name="T79" fmla="*/ 174 h 902"/>
                <a:gd name="T80" fmla="*/ 884 w 2101"/>
                <a:gd name="T81" fmla="*/ 54 h 902"/>
                <a:gd name="T82" fmla="*/ 864 w 2101"/>
                <a:gd name="T83" fmla="*/ 106 h 902"/>
                <a:gd name="T84" fmla="*/ 1910 w 2101"/>
                <a:gd name="T85" fmla="*/ 125 h 902"/>
                <a:gd name="T86" fmla="*/ 1912 w 2101"/>
                <a:gd name="T87" fmla="*/ 76 h 902"/>
                <a:gd name="T88" fmla="*/ 1965 w 2101"/>
                <a:gd name="T89" fmla="*/ 144 h 902"/>
                <a:gd name="T90" fmla="*/ 1873 w 2101"/>
                <a:gd name="T91" fmla="*/ 58 h 902"/>
                <a:gd name="T92" fmla="*/ 1819 w 2101"/>
                <a:gd name="T93" fmla="*/ 80 h 902"/>
                <a:gd name="T94" fmla="*/ 1791 w 2101"/>
                <a:gd name="T95" fmla="*/ 180 h 902"/>
                <a:gd name="T96" fmla="*/ 2040 w 2101"/>
                <a:gd name="T97" fmla="*/ 182 h 902"/>
                <a:gd name="T98" fmla="*/ 1573 w 2101"/>
                <a:gd name="T99" fmla="*/ 120 h 902"/>
                <a:gd name="T100" fmla="*/ 1627 w 2101"/>
                <a:gd name="T101" fmla="*/ 139 h 902"/>
                <a:gd name="T102" fmla="*/ 1565 w 2101"/>
                <a:gd name="T103" fmla="*/ 181 h 902"/>
                <a:gd name="T104" fmla="*/ 1673 w 2101"/>
                <a:gd name="T105" fmla="*/ 118 h 902"/>
                <a:gd name="T106" fmla="*/ 1709 w 2101"/>
                <a:gd name="T107" fmla="*/ 182 h 902"/>
                <a:gd name="T108" fmla="*/ 1506 w 2101"/>
                <a:gd name="T109" fmla="*/ 180 h 902"/>
                <a:gd name="T110" fmla="*/ 1402 w 2101"/>
                <a:gd name="T111" fmla="*/ 182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101" h="902">
                  <a:moveTo>
                    <a:pt x="878" y="435"/>
                  </a:moveTo>
                  <a:lnTo>
                    <a:pt x="951" y="435"/>
                  </a:lnTo>
                  <a:lnTo>
                    <a:pt x="951" y="548"/>
                  </a:lnTo>
                  <a:lnTo>
                    <a:pt x="1063" y="548"/>
                  </a:lnTo>
                  <a:lnTo>
                    <a:pt x="1063" y="435"/>
                  </a:lnTo>
                  <a:lnTo>
                    <a:pt x="1136" y="435"/>
                  </a:lnTo>
                  <a:lnTo>
                    <a:pt x="1136" y="735"/>
                  </a:lnTo>
                  <a:lnTo>
                    <a:pt x="1063" y="735"/>
                  </a:lnTo>
                  <a:lnTo>
                    <a:pt x="1063" y="606"/>
                  </a:lnTo>
                  <a:lnTo>
                    <a:pt x="951" y="606"/>
                  </a:lnTo>
                  <a:lnTo>
                    <a:pt x="951" y="735"/>
                  </a:lnTo>
                  <a:lnTo>
                    <a:pt x="878" y="735"/>
                  </a:lnTo>
                  <a:lnTo>
                    <a:pt x="878" y="435"/>
                  </a:lnTo>
                  <a:close/>
                  <a:moveTo>
                    <a:pt x="1348" y="426"/>
                  </a:moveTo>
                  <a:cubicBezTo>
                    <a:pt x="1454" y="426"/>
                    <a:pt x="1504" y="494"/>
                    <a:pt x="1504" y="585"/>
                  </a:cubicBezTo>
                  <a:cubicBezTo>
                    <a:pt x="1504" y="676"/>
                    <a:pt x="1454" y="744"/>
                    <a:pt x="1348" y="744"/>
                  </a:cubicBezTo>
                  <a:cubicBezTo>
                    <a:pt x="1226" y="744"/>
                    <a:pt x="1191" y="655"/>
                    <a:pt x="1191" y="585"/>
                  </a:cubicBezTo>
                  <a:cubicBezTo>
                    <a:pt x="1191" y="515"/>
                    <a:pt x="1226" y="426"/>
                    <a:pt x="1348" y="426"/>
                  </a:cubicBezTo>
                  <a:close/>
                  <a:moveTo>
                    <a:pt x="1554" y="436"/>
                  </a:moveTo>
                  <a:lnTo>
                    <a:pt x="1657" y="436"/>
                  </a:lnTo>
                  <a:lnTo>
                    <a:pt x="1731" y="642"/>
                  </a:lnTo>
                  <a:lnTo>
                    <a:pt x="1804" y="436"/>
                  </a:lnTo>
                  <a:lnTo>
                    <a:pt x="1907" y="436"/>
                  </a:lnTo>
                  <a:lnTo>
                    <a:pt x="1907" y="736"/>
                  </a:lnTo>
                  <a:lnTo>
                    <a:pt x="1834" y="736"/>
                  </a:lnTo>
                  <a:lnTo>
                    <a:pt x="1834" y="522"/>
                  </a:lnTo>
                  <a:lnTo>
                    <a:pt x="1833" y="522"/>
                  </a:lnTo>
                  <a:lnTo>
                    <a:pt x="1756" y="736"/>
                  </a:lnTo>
                  <a:lnTo>
                    <a:pt x="1706" y="736"/>
                  </a:lnTo>
                  <a:lnTo>
                    <a:pt x="1628" y="522"/>
                  </a:lnTo>
                  <a:lnTo>
                    <a:pt x="1627" y="522"/>
                  </a:lnTo>
                  <a:lnTo>
                    <a:pt x="1627" y="736"/>
                  </a:lnTo>
                  <a:lnTo>
                    <a:pt x="1554" y="736"/>
                  </a:lnTo>
                  <a:lnTo>
                    <a:pt x="1554" y="436"/>
                  </a:lnTo>
                  <a:close/>
                  <a:moveTo>
                    <a:pt x="351" y="738"/>
                  </a:moveTo>
                  <a:lnTo>
                    <a:pt x="204" y="738"/>
                  </a:lnTo>
                  <a:lnTo>
                    <a:pt x="204" y="437"/>
                  </a:lnTo>
                  <a:lnTo>
                    <a:pt x="444" y="437"/>
                  </a:lnTo>
                  <a:lnTo>
                    <a:pt x="444" y="496"/>
                  </a:lnTo>
                  <a:lnTo>
                    <a:pt x="277" y="496"/>
                  </a:lnTo>
                  <a:lnTo>
                    <a:pt x="277" y="549"/>
                  </a:lnTo>
                  <a:lnTo>
                    <a:pt x="351" y="549"/>
                  </a:lnTo>
                  <a:cubicBezTo>
                    <a:pt x="377" y="549"/>
                    <a:pt x="469" y="551"/>
                    <a:pt x="469" y="647"/>
                  </a:cubicBezTo>
                  <a:cubicBezTo>
                    <a:pt x="469" y="708"/>
                    <a:pt x="423" y="738"/>
                    <a:pt x="351" y="738"/>
                  </a:cubicBezTo>
                  <a:close/>
                  <a:moveTo>
                    <a:pt x="605" y="628"/>
                  </a:moveTo>
                  <a:lnTo>
                    <a:pt x="728" y="434"/>
                  </a:lnTo>
                  <a:lnTo>
                    <a:pt x="801" y="434"/>
                  </a:lnTo>
                  <a:lnTo>
                    <a:pt x="801" y="735"/>
                  </a:lnTo>
                  <a:lnTo>
                    <a:pt x="728" y="735"/>
                  </a:lnTo>
                  <a:lnTo>
                    <a:pt x="728" y="538"/>
                  </a:lnTo>
                  <a:lnTo>
                    <a:pt x="605" y="735"/>
                  </a:lnTo>
                  <a:lnTo>
                    <a:pt x="532" y="735"/>
                  </a:lnTo>
                  <a:lnTo>
                    <a:pt x="532" y="278"/>
                  </a:lnTo>
                  <a:lnTo>
                    <a:pt x="0" y="278"/>
                  </a:lnTo>
                  <a:lnTo>
                    <a:pt x="0" y="902"/>
                  </a:lnTo>
                  <a:lnTo>
                    <a:pt x="2098" y="902"/>
                  </a:lnTo>
                  <a:lnTo>
                    <a:pt x="2098" y="278"/>
                  </a:lnTo>
                  <a:lnTo>
                    <a:pt x="605" y="278"/>
                  </a:lnTo>
                  <a:lnTo>
                    <a:pt x="605" y="628"/>
                  </a:lnTo>
                  <a:close/>
                  <a:moveTo>
                    <a:pt x="337" y="607"/>
                  </a:moveTo>
                  <a:lnTo>
                    <a:pt x="277" y="607"/>
                  </a:lnTo>
                  <a:lnTo>
                    <a:pt x="277" y="679"/>
                  </a:lnTo>
                  <a:lnTo>
                    <a:pt x="336" y="679"/>
                  </a:lnTo>
                  <a:cubicBezTo>
                    <a:pt x="364" y="679"/>
                    <a:pt x="390" y="674"/>
                    <a:pt x="390" y="645"/>
                  </a:cubicBezTo>
                  <a:cubicBezTo>
                    <a:pt x="390" y="609"/>
                    <a:pt x="355" y="607"/>
                    <a:pt x="337" y="607"/>
                  </a:cubicBezTo>
                  <a:close/>
                  <a:moveTo>
                    <a:pt x="1348" y="686"/>
                  </a:moveTo>
                  <a:cubicBezTo>
                    <a:pt x="1422" y="686"/>
                    <a:pt x="1426" y="610"/>
                    <a:pt x="1426" y="585"/>
                  </a:cubicBezTo>
                  <a:cubicBezTo>
                    <a:pt x="1426" y="558"/>
                    <a:pt x="1422" y="485"/>
                    <a:pt x="1348" y="485"/>
                  </a:cubicBezTo>
                  <a:cubicBezTo>
                    <a:pt x="1308" y="485"/>
                    <a:pt x="1271" y="506"/>
                    <a:pt x="1271" y="585"/>
                  </a:cubicBezTo>
                  <a:cubicBezTo>
                    <a:pt x="1271" y="664"/>
                    <a:pt x="1308" y="686"/>
                    <a:pt x="1348" y="686"/>
                  </a:cubicBezTo>
                  <a:close/>
                  <a:moveTo>
                    <a:pt x="1385" y="157"/>
                  </a:moveTo>
                  <a:lnTo>
                    <a:pt x="1334" y="157"/>
                  </a:lnTo>
                  <a:lnTo>
                    <a:pt x="1334" y="128"/>
                  </a:lnTo>
                  <a:lnTo>
                    <a:pt x="1380" y="128"/>
                  </a:lnTo>
                  <a:lnTo>
                    <a:pt x="1380" y="105"/>
                  </a:lnTo>
                  <a:lnTo>
                    <a:pt x="1334" y="105"/>
                  </a:lnTo>
                  <a:lnTo>
                    <a:pt x="1334" y="79"/>
                  </a:lnTo>
                  <a:lnTo>
                    <a:pt x="1383" y="79"/>
                  </a:lnTo>
                  <a:lnTo>
                    <a:pt x="1383" y="56"/>
                  </a:lnTo>
                  <a:lnTo>
                    <a:pt x="1306" y="56"/>
                  </a:lnTo>
                  <a:lnTo>
                    <a:pt x="1306" y="180"/>
                  </a:lnTo>
                  <a:lnTo>
                    <a:pt x="1385" y="180"/>
                  </a:lnTo>
                  <a:lnTo>
                    <a:pt x="1385" y="157"/>
                  </a:lnTo>
                  <a:close/>
                  <a:moveTo>
                    <a:pt x="1128" y="101"/>
                  </a:moveTo>
                  <a:cubicBezTo>
                    <a:pt x="1130" y="94"/>
                    <a:pt x="1132" y="85"/>
                    <a:pt x="1133" y="77"/>
                  </a:cubicBezTo>
                  <a:lnTo>
                    <a:pt x="1134" y="77"/>
                  </a:lnTo>
                  <a:cubicBezTo>
                    <a:pt x="1136" y="85"/>
                    <a:pt x="1138" y="94"/>
                    <a:pt x="1140" y="101"/>
                  </a:cubicBezTo>
                  <a:lnTo>
                    <a:pt x="1148" y="127"/>
                  </a:lnTo>
                  <a:lnTo>
                    <a:pt x="1120" y="127"/>
                  </a:lnTo>
                  <a:lnTo>
                    <a:pt x="1128" y="101"/>
                  </a:lnTo>
                  <a:close/>
                  <a:moveTo>
                    <a:pt x="1116" y="148"/>
                  </a:moveTo>
                  <a:lnTo>
                    <a:pt x="1152" y="148"/>
                  </a:lnTo>
                  <a:lnTo>
                    <a:pt x="1161" y="180"/>
                  </a:lnTo>
                  <a:lnTo>
                    <a:pt x="1192" y="180"/>
                  </a:lnTo>
                  <a:lnTo>
                    <a:pt x="1153" y="56"/>
                  </a:lnTo>
                  <a:lnTo>
                    <a:pt x="1116" y="56"/>
                  </a:lnTo>
                  <a:lnTo>
                    <a:pt x="1079" y="180"/>
                  </a:lnTo>
                  <a:lnTo>
                    <a:pt x="1108" y="180"/>
                  </a:lnTo>
                  <a:lnTo>
                    <a:pt x="1116" y="148"/>
                  </a:lnTo>
                  <a:close/>
                  <a:moveTo>
                    <a:pt x="1225" y="180"/>
                  </a:moveTo>
                  <a:lnTo>
                    <a:pt x="1253" y="180"/>
                  </a:lnTo>
                  <a:lnTo>
                    <a:pt x="1253" y="80"/>
                  </a:lnTo>
                  <a:lnTo>
                    <a:pt x="1287" y="80"/>
                  </a:lnTo>
                  <a:lnTo>
                    <a:pt x="1287" y="56"/>
                  </a:lnTo>
                  <a:lnTo>
                    <a:pt x="1191" y="56"/>
                  </a:lnTo>
                  <a:lnTo>
                    <a:pt x="1191" y="80"/>
                  </a:lnTo>
                  <a:lnTo>
                    <a:pt x="1225" y="80"/>
                  </a:lnTo>
                  <a:lnTo>
                    <a:pt x="1225" y="180"/>
                  </a:lnTo>
                  <a:close/>
                  <a:moveTo>
                    <a:pt x="993" y="136"/>
                  </a:moveTo>
                  <a:cubicBezTo>
                    <a:pt x="996" y="124"/>
                    <a:pt x="998" y="110"/>
                    <a:pt x="998" y="96"/>
                  </a:cubicBezTo>
                  <a:lnTo>
                    <a:pt x="998" y="79"/>
                  </a:lnTo>
                  <a:lnTo>
                    <a:pt x="1025" y="79"/>
                  </a:lnTo>
                  <a:lnTo>
                    <a:pt x="1025" y="157"/>
                  </a:lnTo>
                  <a:lnTo>
                    <a:pt x="984" y="157"/>
                  </a:lnTo>
                  <a:cubicBezTo>
                    <a:pt x="987" y="151"/>
                    <a:pt x="990" y="144"/>
                    <a:pt x="993" y="136"/>
                  </a:cubicBezTo>
                  <a:close/>
                  <a:moveTo>
                    <a:pt x="968" y="212"/>
                  </a:moveTo>
                  <a:lnTo>
                    <a:pt x="969" y="180"/>
                  </a:lnTo>
                  <a:lnTo>
                    <a:pt x="1041" y="180"/>
                  </a:lnTo>
                  <a:lnTo>
                    <a:pt x="1043" y="212"/>
                  </a:lnTo>
                  <a:lnTo>
                    <a:pt x="1064" y="212"/>
                  </a:lnTo>
                  <a:lnTo>
                    <a:pt x="1066" y="159"/>
                  </a:lnTo>
                  <a:lnTo>
                    <a:pt x="1053" y="158"/>
                  </a:lnTo>
                  <a:lnTo>
                    <a:pt x="1053" y="56"/>
                  </a:lnTo>
                  <a:lnTo>
                    <a:pt x="972" y="56"/>
                  </a:lnTo>
                  <a:lnTo>
                    <a:pt x="972" y="89"/>
                  </a:lnTo>
                  <a:cubicBezTo>
                    <a:pt x="972" y="104"/>
                    <a:pt x="971" y="118"/>
                    <a:pt x="967" y="131"/>
                  </a:cubicBezTo>
                  <a:cubicBezTo>
                    <a:pt x="964" y="140"/>
                    <a:pt x="960" y="149"/>
                    <a:pt x="955" y="158"/>
                  </a:cubicBezTo>
                  <a:lnTo>
                    <a:pt x="945" y="159"/>
                  </a:lnTo>
                  <a:lnTo>
                    <a:pt x="946" y="212"/>
                  </a:lnTo>
                  <a:lnTo>
                    <a:pt x="968" y="212"/>
                  </a:lnTo>
                  <a:close/>
                  <a:moveTo>
                    <a:pt x="492" y="122"/>
                  </a:moveTo>
                  <a:cubicBezTo>
                    <a:pt x="493" y="144"/>
                    <a:pt x="498" y="164"/>
                    <a:pt x="505" y="181"/>
                  </a:cubicBezTo>
                  <a:cubicBezTo>
                    <a:pt x="495" y="186"/>
                    <a:pt x="488" y="191"/>
                    <a:pt x="484" y="193"/>
                  </a:cubicBezTo>
                  <a:cubicBezTo>
                    <a:pt x="464" y="175"/>
                    <a:pt x="451" y="150"/>
                    <a:pt x="450" y="122"/>
                  </a:cubicBezTo>
                  <a:lnTo>
                    <a:pt x="492" y="122"/>
                  </a:lnTo>
                  <a:close/>
                  <a:moveTo>
                    <a:pt x="488" y="39"/>
                  </a:moveTo>
                  <a:cubicBezTo>
                    <a:pt x="493" y="42"/>
                    <a:pt x="500" y="46"/>
                    <a:pt x="508" y="50"/>
                  </a:cubicBezTo>
                  <a:cubicBezTo>
                    <a:pt x="500" y="67"/>
                    <a:pt x="493" y="88"/>
                    <a:pt x="492" y="112"/>
                  </a:cubicBezTo>
                  <a:lnTo>
                    <a:pt x="450" y="112"/>
                  </a:lnTo>
                  <a:cubicBezTo>
                    <a:pt x="452" y="83"/>
                    <a:pt x="466" y="57"/>
                    <a:pt x="488" y="39"/>
                  </a:cubicBezTo>
                  <a:close/>
                  <a:moveTo>
                    <a:pt x="529" y="16"/>
                  </a:moveTo>
                  <a:cubicBezTo>
                    <a:pt x="524" y="22"/>
                    <a:pt x="519" y="31"/>
                    <a:pt x="513" y="41"/>
                  </a:cubicBezTo>
                  <a:cubicBezTo>
                    <a:pt x="512" y="40"/>
                    <a:pt x="511" y="40"/>
                    <a:pt x="511" y="40"/>
                  </a:cubicBezTo>
                  <a:cubicBezTo>
                    <a:pt x="505" y="37"/>
                    <a:pt x="501" y="34"/>
                    <a:pt x="497" y="32"/>
                  </a:cubicBezTo>
                  <a:cubicBezTo>
                    <a:pt x="507" y="25"/>
                    <a:pt x="518" y="20"/>
                    <a:pt x="529" y="16"/>
                  </a:cubicBezTo>
                  <a:close/>
                  <a:moveTo>
                    <a:pt x="563" y="10"/>
                  </a:moveTo>
                  <a:lnTo>
                    <a:pt x="563" y="53"/>
                  </a:lnTo>
                  <a:cubicBezTo>
                    <a:pt x="548" y="53"/>
                    <a:pt x="534" y="49"/>
                    <a:pt x="523" y="45"/>
                  </a:cubicBezTo>
                  <a:cubicBezTo>
                    <a:pt x="524" y="43"/>
                    <a:pt x="525" y="42"/>
                    <a:pt x="526" y="40"/>
                  </a:cubicBezTo>
                  <a:cubicBezTo>
                    <a:pt x="535" y="25"/>
                    <a:pt x="545" y="15"/>
                    <a:pt x="547" y="12"/>
                  </a:cubicBezTo>
                  <a:cubicBezTo>
                    <a:pt x="553" y="11"/>
                    <a:pt x="558" y="10"/>
                    <a:pt x="563" y="10"/>
                  </a:cubicBezTo>
                  <a:close/>
                  <a:moveTo>
                    <a:pt x="563" y="112"/>
                  </a:moveTo>
                  <a:lnTo>
                    <a:pt x="503" y="112"/>
                  </a:lnTo>
                  <a:cubicBezTo>
                    <a:pt x="504" y="90"/>
                    <a:pt x="510" y="71"/>
                    <a:pt x="518" y="55"/>
                  </a:cubicBezTo>
                  <a:cubicBezTo>
                    <a:pt x="530" y="60"/>
                    <a:pt x="546" y="63"/>
                    <a:pt x="563" y="64"/>
                  </a:cubicBezTo>
                  <a:lnTo>
                    <a:pt x="563" y="112"/>
                  </a:lnTo>
                  <a:close/>
                  <a:moveTo>
                    <a:pt x="563" y="166"/>
                  </a:moveTo>
                  <a:cubicBezTo>
                    <a:pt x="544" y="166"/>
                    <a:pt x="528" y="171"/>
                    <a:pt x="515" y="176"/>
                  </a:cubicBezTo>
                  <a:cubicBezTo>
                    <a:pt x="509" y="161"/>
                    <a:pt x="504" y="143"/>
                    <a:pt x="503" y="122"/>
                  </a:cubicBezTo>
                  <a:lnTo>
                    <a:pt x="563" y="122"/>
                  </a:lnTo>
                  <a:lnTo>
                    <a:pt x="563" y="166"/>
                  </a:lnTo>
                  <a:close/>
                  <a:moveTo>
                    <a:pt x="563" y="225"/>
                  </a:moveTo>
                  <a:cubicBezTo>
                    <a:pt x="556" y="225"/>
                    <a:pt x="549" y="224"/>
                    <a:pt x="542" y="223"/>
                  </a:cubicBezTo>
                  <a:cubicBezTo>
                    <a:pt x="539" y="219"/>
                    <a:pt x="531" y="209"/>
                    <a:pt x="523" y="194"/>
                  </a:cubicBezTo>
                  <a:cubicBezTo>
                    <a:pt x="522" y="192"/>
                    <a:pt x="520" y="189"/>
                    <a:pt x="519" y="186"/>
                  </a:cubicBezTo>
                  <a:cubicBezTo>
                    <a:pt x="531" y="181"/>
                    <a:pt x="546" y="177"/>
                    <a:pt x="563" y="176"/>
                  </a:cubicBezTo>
                  <a:lnTo>
                    <a:pt x="563" y="225"/>
                  </a:lnTo>
                  <a:close/>
                  <a:moveTo>
                    <a:pt x="492" y="201"/>
                  </a:moveTo>
                  <a:cubicBezTo>
                    <a:pt x="496" y="198"/>
                    <a:pt x="502" y="194"/>
                    <a:pt x="509" y="191"/>
                  </a:cubicBezTo>
                  <a:cubicBezTo>
                    <a:pt x="515" y="202"/>
                    <a:pt x="520" y="211"/>
                    <a:pt x="525" y="218"/>
                  </a:cubicBezTo>
                  <a:cubicBezTo>
                    <a:pt x="513" y="214"/>
                    <a:pt x="502" y="208"/>
                    <a:pt x="492" y="201"/>
                  </a:cubicBezTo>
                  <a:close/>
                  <a:moveTo>
                    <a:pt x="573" y="176"/>
                  </a:moveTo>
                  <a:cubicBezTo>
                    <a:pt x="591" y="177"/>
                    <a:pt x="606" y="181"/>
                    <a:pt x="618" y="186"/>
                  </a:cubicBezTo>
                  <a:cubicBezTo>
                    <a:pt x="617" y="189"/>
                    <a:pt x="615" y="191"/>
                    <a:pt x="614" y="194"/>
                  </a:cubicBezTo>
                  <a:cubicBezTo>
                    <a:pt x="605" y="210"/>
                    <a:pt x="597" y="220"/>
                    <a:pt x="594" y="223"/>
                  </a:cubicBezTo>
                  <a:cubicBezTo>
                    <a:pt x="588" y="224"/>
                    <a:pt x="580" y="225"/>
                    <a:pt x="573" y="225"/>
                  </a:cubicBezTo>
                  <a:lnTo>
                    <a:pt x="573" y="176"/>
                  </a:lnTo>
                  <a:close/>
                  <a:moveTo>
                    <a:pt x="573" y="122"/>
                  </a:moveTo>
                  <a:lnTo>
                    <a:pt x="634" y="122"/>
                  </a:lnTo>
                  <a:cubicBezTo>
                    <a:pt x="633" y="142"/>
                    <a:pt x="628" y="161"/>
                    <a:pt x="622" y="176"/>
                  </a:cubicBezTo>
                  <a:cubicBezTo>
                    <a:pt x="609" y="171"/>
                    <a:pt x="592" y="167"/>
                    <a:pt x="573" y="166"/>
                  </a:cubicBezTo>
                  <a:lnTo>
                    <a:pt x="573" y="122"/>
                  </a:lnTo>
                  <a:close/>
                  <a:moveTo>
                    <a:pt x="573" y="64"/>
                  </a:moveTo>
                  <a:cubicBezTo>
                    <a:pt x="591" y="64"/>
                    <a:pt x="607" y="60"/>
                    <a:pt x="620" y="56"/>
                  </a:cubicBezTo>
                  <a:cubicBezTo>
                    <a:pt x="627" y="71"/>
                    <a:pt x="633" y="91"/>
                    <a:pt x="634" y="112"/>
                  </a:cubicBezTo>
                  <a:lnTo>
                    <a:pt x="573" y="112"/>
                  </a:lnTo>
                  <a:lnTo>
                    <a:pt x="573" y="64"/>
                  </a:lnTo>
                  <a:close/>
                  <a:moveTo>
                    <a:pt x="573" y="10"/>
                  </a:moveTo>
                  <a:cubicBezTo>
                    <a:pt x="579" y="10"/>
                    <a:pt x="584" y="11"/>
                    <a:pt x="589" y="12"/>
                  </a:cubicBezTo>
                  <a:cubicBezTo>
                    <a:pt x="592" y="15"/>
                    <a:pt x="602" y="25"/>
                    <a:pt x="611" y="40"/>
                  </a:cubicBezTo>
                  <a:cubicBezTo>
                    <a:pt x="612" y="42"/>
                    <a:pt x="613" y="44"/>
                    <a:pt x="614" y="46"/>
                  </a:cubicBezTo>
                  <a:cubicBezTo>
                    <a:pt x="603" y="50"/>
                    <a:pt x="589" y="53"/>
                    <a:pt x="573" y="54"/>
                  </a:cubicBezTo>
                  <a:lnTo>
                    <a:pt x="573" y="10"/>
                  </a:lnTo>
                  <a:close/>
                  <a:moveTo>
                    <a:pt x="643" y="33"/>
                  </a:moveTo>
                  <a:cubicBezTo>
                    <a:pt x="639" y="35"/>
                    <a:pt x="634" y="38"/>
                    <a:pt x="627" y="41"/>
                  </a:cubicBezTo>
                  <a:cubicBezTo>
                    <a:pt x="626" y="41"/>
                    <a:pt x="625" y="42"/>
                    <a:pt x="625" y="42"/>
                  </a:cubicBezTo>
                  <a:cubicBezTo>
                    <a:pt x="619" y="31"/>
                    <a:pt x="612" y="22"/>
                    <a:pt x="607" y="16"/>
                  </a:cubicBezTo>
                  <a:cubicBezTo>
                    <a:pt x="620" y="20"/>
                    <a:pt x="632" y="26"/>
                    <a:pt x="643" y="33"/>
                  </a:cubicBezTo>
                  <a:close/>
                  <a:moveTo>
                    <a:pt x="688" y="112"/>
                  </a:moveTo>
                  <a:lnTo>
                    <a:pt x="645" y="112"/>
                  </a:lnTo>
                  <a:cubicBezTo>
                    <a:pt x="644" y="89"/>
                    <a:pt x="637" y="68"/>
                    <a:pt x="630" y="52"/>
                  </a:cubicBezTo>
                  <a:cubicBezTo>
                    <a:pt x="640" y="47"/>
                    <a:pt x="647" y="43"/>
                    <a:pt x="652" y="40"/>
                  </a:cubicBezTo>
                  <a:cubicBezTo>
                    <a:pt x="673" y="59"/>
                    <a:pt x="686" y="84"/>
                    <a:pt x="688" y="112"/>
                  </a:cubicBezTo>
                  <a:close/>
                  <a:moveTo>
                    <a:pt x="655" y="192"/>
                  </a:moveTo>
                  <a:cubicBezTo>
                    <a:pt x="654" y="192"/>
                    <a:pt x="646" y="186"/>
                    <a:pt x="632" y="180"/>
                  </a:cubicBezTo>
                  <a:cubicBezTo>
                    <a:pt x="639" y="164"/>
                    <a:pt x="644" y="144"/>
                    <a:pt x="645" y="122"/>
                  </a:cubicBezTo>
                  <a:lnTo>
                    <a:pt x="688" y="122"/>
                  </a:lnTo>
                  <a:cubicBezTo>
                    <a:pt x="687" y="150"/>
                    <a:pt x="674" y="174"/>
                    <a:pt x="655" y="192"/>
                  </a:cubicBezTo>
                  <a:close/>
                  <a:moveTo>
                    <a:pt x="612" y="218"/>
                  </a:moveTo>
                  <a:cubicBezTo>
                    <a:pt x="616" y="211"/>
                    <a:pt x="622" y="202"/>
                    <a:pt x="628" y="190"/>
                  </a:cubicBezTo>
                  <a:cubicBezTo>
                    <a:pt x="637" y="194"/>
                    <a:pt x="643" y="198"/>
                    <a:pt x="646" y="200"/>
                  </a:cubicBezTo>
                  <a:cubicBezTo>
                    <a:pt x="636" y="208"/>
                    <a:pt x="624" y="214"/>
                    <a:pt x="612" y="218"/>
                  </a:cubicBezTo>
                  <a:close/>
                  <a:moveTo>
                    <a:pt x="563" y="236"/>
                  </a:moveTo>
                  <a:lnTo>
                    <a:pt x="563" y="236"/>
                  </a:lnTo>
                  <a:lnTo>
                    <a:pt x="573" y="236"/>
                  </a:lnTo>
                  <a:lnTo>
                    <a:pt x="573" y="236"/>
                  </a:lnTo>
                  <a:cubicBezTo>
                    <a:pt x="643" y="234"/>
                    <a:pt x="699" y="182"/>
                    <a:pt x="699" y="118"/>
                  </a:cubicBezTo>
                  <a:cubicBezTo>
                    <a:pt x="699" y="53"/>
                    <a:pt x="641" y="0"/>
                    <a:pt x="569" y="0"/>
                  </a:cubicBezTo>
                  <a:cubicBezTo>
                    <a:pt x="497" y="0"/>
                    <a:pt x="438" y="53"/>
                    <a:pt x="438" y="118"/>
                  </a:cubicBezTo>
                  <a:cubicBezTo>
                    <a:pt x="438" y="181"/>
                    <a:pt x="494" y="233"/>
                    <a:pt x="563" y="236"/>
                  </a:cubicBezTo>
                  <a:close/>
                  <a:moveTo>
                    <a:pt x="776" y="135"/>
                  </a:moveTo>
                  <a:cubicBezTo>
                    <a:pt x="783" y="122"/>
                    <a:pt x="791" y="106"/>
                    <a:pt x="797" y="91"/>
                  </a:cubicBezTo>
                  <a:lnTo>
                    <a:pt x="797" y="91"/>
                  </a:lnTo>
                  <a:cubicBezTo>
                    <a:pt x="796" y="107"/>
                    <a:pt x="795" y="124"/>
                    <a:pt x="795" y="144"/>
                  </a:cubicBezTo>
                  <a:lnTo>
                    <a:pt x="795" y="180"/>
                  </a:lnTo>
                  <a:lnTo>
                    <a:pt x="821" y="180"/>
                  </a:lnTo>
                  <a:lnTo>
                    <a:pt x="821" y="56"/>
                  </a:lnTo>
                  <a:lnTo>
                    <a:pt x="792" y="56"/>
                  </a:lnTo>
                  <a:lnTo>
                    <a:pt x="766" y="105"/>
                  </a:lnTo>
                  <a:cubicBezTo>
                    <a:pt x="758" y="118"/>
                    <a:pt x="750" y="135"/>
                    <a:pt x="744" y="149"/>
                  </a:cubicBezTo>
                  <a:lnTo>
                    <a:pt x="743" y="149"/>
                  </a:lnTo>
                  <a:cubicBezTo>
                    <a:pt x="744" y="133"/>
                    <a:pt x="744" y="113"/>
                    <a:pt x="744" y="93"/>
                  </a:cubicBezTo>
                  <a:lnTo>
                    <a:pt x="744" y="56"/>
                  </a:lnTo>
                  <a:lnTo>
                    <a:pt x="719" y="56"/>
                  </a:lnTo>
                  <a:lnTo>
                    <a:pt x="719" y="180"/>
                  </a:lnTo>
                  <a:lnTo>
                    <a:pt x="751" y="180"/>
                  </a:lnTo>
                  <a:lnTo>
                    <a:pt x="776" y="135"/>
                  </a:lnTo>
                  <a:close/>
                  <a:moveTo>
                    <a:pt x="879" y="159"/>
                  </a:moveTo>
                  <a:cubicBezTo>
                    <a:pt x="868" y="159"/>
                    <a:pt x="855" y="155"/>
                    <a:pt x="849" y="152"/>
                  </a:cubicBezTo>
                  <a:lnTo>
                    <a:pt x="843" y="174"/>
                  </a:lnTo>
                  <a:cubicBezTo>
                    <a:pt x="854" y="179"/>
                    <a:pt x="868" y="182"/>
                    <a:pt x="880" y="182"/>
                  </a:cubicBezTo>
                  <a:cubicBezTo>
                    <a:pt x="904" y="182"/>
                    <a:pt x="932" y="173"/>
                    <a:pt x="932" y="145"/>
                  </a:cubicBezTo>
                  <a:cubicBezTo>
                    <a:pt x="932" y="128"/>
                    <a:pt x="918" y="118"/>
                    <a:pt x="903" y="116"/>
                  </a:cubicBezTo>
                  <a:lnTo>
                    <a:pt x="903" y="115"/>
                  </a:lnTo>
                  <a:cubicBezTo>
                    <a:pt x="917" y="112"/>
                    <a:pt x="927" y="101"/>
                    <a:pt x="927" y="86"/>
                  </a:cubicBezTo>
                  <a:cubicBezTo>
                    <a:pt x="927" y="68"/>
                    <a:pt x="911" y="54"/>
                    <a:pt x="884" y="54"/>
                  </a:cubicBezTo>
                  <a:cubicBezTo>
                    <a:pt x="867" y="54"/>
                    <a:pt x="854" y="59"/>
                    <a:pt x="846" y="64"/>
                  </a:cubicBezTo>
                  <a:lnTo>
                    <a:pt x="852" y="84"/>
                  </a:lnTo>
                  <a:cubicBezTo>
                    <a:pt x="859" y="81"/>
                    <a:pt x="870" y="77"/>
                    <a:pt x="879" y="77"/>
                  </a:cubicBezTo>
                  <a:cubicBezTo>
                    <a:pt x="891" y="77"/>
                    <a:pt x="898" y="82"/>
                    <a:pt x="898" y="90"/>
                  </a:cubicBezTo>
                  <a:cubicBezTo>
                    <a:pt x="898" y="100"/>
                    <a:pt x="889" y="106"/>
                    <a:pt x="876" y="106"/>
                  </a:cubicBezTo>
                  <a:lnTo>
                    <a:pt x="864" y="106"/>
                  </a:lnTo>
                  <a:lnTo>
                    <a:pt x="864" y="127"/>
                  </a:lnTo>
                  <a:lnTo>
                    <a:pt x="876" y="127"/>
                  </a:lnTo>
                  <a:cubicBezTo>
                    <a:pt x="888" y="127"/>
                    <a:pt x="902" y="129"/>
                    <a:pt x="902" y="143"/>
                  </a:cubicBezTo>
                  <a:cubicBezTo>
                    <a:pt x="902" y="153"/>
                    <a:pt x="893" y="159"/>
                    <a:pt x="879" y="159"/>
                  </a:cubicBezTo>
                  <a:close/>
                  <a:moveTo>
                    <a:pt x="1900" y="125"/>
                  </a:moveTo>
                  <a:lnTo>
                    <a:pt x="1910" y="125"/>
                  </a:lnTo>
                  <a:cubicBezTo>
                    <a:pt x="1924" y="125"/>
                    <a:pt x="1935" y="130"/>
                    <a:pt x="1935" y="143"/>
                  </a:cubicBezTo>
                  <a:cubicBezTo>
                    <a:pt x="1935" y="156"/>
                    <a:pt x="1924" y="161"/>
                    <a:pt x="1911" y="161"/>
                  </a:cubicBezTo>
                  <a:cubicBezTo>
                    <a:pt x="1906" y="161"/>
                    <a:pt x="1903" y="161"/>
                    <a:pt x="1900" y="160"/>
                  </a:cubicBezTo>
                  <a:lnTo>
                    <a:pt x="1900" y="125"/>
                  </a:lnTo>
                  <a:close/>
                  <a:moveTo>
                    <a:pt x="1900" y="76"/>
                  </a:moveTo>
                  <a:cubicBezTo>
                    <a:pt x="1903" y="76"/>
                    <a:pt x="1906" y="76"/>
                    <a:pt x="1912" y="76"/>
                  </a:cubicBezTo>
                  <a:cubicBezTo>
                    <a:pt x="1925" y="76"/>
                    <a:pt x="1932" y="81"/>
                    <a:pt x="1932" y="90"/>
                  </a:cubicBezTo>
                  <a:cubicBezTo>
                    <a:pt x="1932" y="99"/>
                    <a:pt x="1924" y="105"/>
                    <a:pt x="1910" y="105"/>
                  </a:cubicBezTo>
                  <a:lnTo>
                    <a:pt x="1900" y="105"/>
                  </a:lnTo>
                  <a:lnTo>
                    <a:pt x="1900" y="76"/>
                  </a:lnTo>
                  <a:close/>
                  <a:moveTo>
                    <a:pt x="1952" y="170"/>
                  </a:moveTo>
                  <a:cubicBezTo>
                    <a:pt x="1959" y="164"/>
                    <a:pt x="1965" y="155"/>
                    <a:pt x="1965" y="144"/>
                  </a:cubicBezTo>
                  <a:cubicBezTo>
                    <a:pt x="1965" y="128"/>
                    <a:pt x="1954" y="117"/>
                    <a:pt x="1940" y="113"/>
                  </a:cubicBezTo>
                  <a:lnTo>
                    <a:pt x="1940" y="113"/>
                  </a:lnTo>
                  <a:cubicBezTo>
                    <a:pt x="1954" y="108"/>
                    <a:pt x="1960" y="98"/>
                    <a:pt x="1960" y="87"/>
                  </a:cubicBezTo>
                  <a:cubicBezTo>
                    <a:pt x="1960" y="75"/>
                    <a:pt x="1954" y="67"/>
                    <a:pt x="1945" y="62"/>
                  </a:cubicBezTo>
                  <a:cubicBezTo>
                    <a:pt x="1936" y="57"/>
                    <a:pt x="1926" y="55"/>
                    <a:pt x="1909" y="55"/>
                  </a:cubicBezTo>
                  <a:cubicBezTo>
                    <a:pt x="1895" y="55"/>
                    <a:pt x="1880" y="56"/>
                    <a:pt x="1873" y="58"/>
                  </a:cubicBezTo>
                  <a:lnTo>
                    <a:pt x="1873" y="180"/>
                  </a:lnTo>
                  <a:cubicBezTo>
                    <a:pt x="1879" y="180"/>
                    <a:pt x="1889" y="181"/>
                    <a:pt x="1903" y="181"/>
                  </a:cubicBezTo>
                  <a:cubicBezTo>
                    <a:pt x="1928" y="181"/>
                    <a:pt x="1943" y="177"/>
                    <a:pt x="1952" y="170"/>
                  </a:cubicBezTo>
                  <a:close/>
                  <a:moveTo>
                    <a:pt x="1791" y="180"/>
                  </a:moveTo>
                  <a:lnTo>
                    <a:pt x="1819" y="180"/>
                  </a:lnTo>
                  <a:lnTo>
                    <a:pt x="1819" y="80"/>
                  </a:lnTo>
                  <a:lnTo>
                    <a:pt x="1853" y="80"/>
                  </a:lnTo>
                  <a:lnTo>
                    <a:pt x="1853" y="56"/>
                  </a:lnTo>
                  <a:lnTo>
                    <a:pt x="1758" y="56"/>
                  </a:lnTo>
                  <a:lnTo>
                    <a:pt x="1758" y="80"/>
                  </a:lnTo>
                  <a:lnTo>
                    <a:pt x="1791" y="80"/>
                  </a:lnTo>
                  <a:lnTo>
                    <a:pt x="1791" y="180"/>
                  </a:lnTo>
                  <a:close/>
                  <a:moveTo>
                    <a:pt x="2041" y="76"/>
                  </a:moveTo>
                  <a:cubicBezTo>
                    <a:pt x="2061" y="76"/>
                    <a:pt x="2071" y="96"/>
                    <a:pt x="2071" y="118"/>
                  </a:cubicBezTo>
                  <a:cubicBezTo>
                    <a:pt x="2071" y="142"/>
                    <a:pt x="2061" y="160"/>
                    <a:pt x="2042" y="160"/>
                  </a:cubicBezTo>
                  <a:cubicBezTo>
                    <a:pt x="2023" y="160"/>
                    <a:pt x="2011" y="143"/>
                    <a:pt x="2011" y="119"/>
                  </a:cubicBezTo>
                  <a:cubicBezTo>
                    <a:pt x="2011" y="94"/>
                    <a:pt x="2022" y="76"/>
                    <a:pt x="2041" y="76"/>
                  </a:cubicBezTo>
                  <a:close/>
                  <a:moveTo>
                    <a:pt x="2040" y="182"/>
                  </a:moveTo>
                  <a:cubicBezTo>
                    <a:pt x="2076" y="182"/>
                    <a:pt x="2101" y="158"/>
                    <a:pt x="2101" y="117"/>
                  </a:cubicBezTo>
                  <a:cubicBezTo>
                    <a:pt x="2101" y="83"/>
                    <a:pt x="2080" y="54"/>
                    <a:pt x="2042" y="54"/>
                  </a:cubicBezTo>
                  <a:cubicBezTo>
                    <a:pt x="2006" y="54"/>
                    <a:pt x="1982" y="82"/>
                    <a:pt x="1982" y="119"/>
                  </a:cubicBezTo>
                  <a:cubicBezTo>
                    <a:pt x="1982" y="154"/>
                    <a:pt x="2003" y="182"/>
                    <a:pt x="2040" y="182"/>
                  </a:cubicBezTo>
                  <a:close/>
                  <a:moveTo>
                    <a:pt x="1563" y="121"/>
                  </a:moveTo>
                  <a:cubicBezTo>
                    <a:pt x="1566" y="120"/>
                    <a:pt x="1569" y="120"/>
                    <a:pt x="1573" y="120"/>
                  </a:cubicBezTo>
                  <a:cubicBezTo>
                    <a:pt x="1587" y="120"/>
                    <a:pt x="1598" y="126"/>
                    <a:pt x="1598" y="140"/>
                  </a:cubicBezTo>
                  <a:cubicBezTo>
                    <a:pt x="1598" y="154"/>
                    <a:pt x="1587" y="160"/>
                    <a:pt x="1573" y="160"/>
                  </a:cubicBezTo>
                  <a:cubicBezTo>
                    <a:pt x="1569" y="160"/>
                    <a:pt x="1566" y="160"/>
                    <a:pt x="1563" y="160"/>
                  </a:cubicBezTo>
                  <a:lnTo>
                    <a:pt x="1563" y="121"/>
                  </a:lnTo>
                  <a:close/>
                  <a:moveTo>
                    <a:pt x="1617" y="166"/>
                  </a:moveTo>
                  <a:cubicBezTo>
                    <a:pt x="1623" y="159"/>
                    <a:pt x="1627" y="150"/>
                    <a:pt x="1627" y="139"/>
                  </a:cubicBezTo>
                  <a:cubicBezTo>
                    <a:pt x="1627" y="111"/>
                    <a:pt x="1604" y="98"/>
                    <a:pt x="1578" y="98"/>
                  </a:cubicBezTo>
                  <a:cubicBezTo>
                    <a:pt x="1572" y="98"/>
                    <a:pt x="1567" y="99"/>
                    <a:pt x="1563" y="99"/>
                  </a:cubicBezTo>
                  <a:lnTo>
                    <a:pt x="1563" y="56"/>
                  </a:lnTo>
                  <a:lnTo>
                    <a:pt x="1535" y="56"/>
                  </a:lnTo>
                  <a:lnTo>
                    <a:pt x="1535" y="180"/>
                  </a:lnTo>
                  <a:cubicBezTo>
                    <a:pt x="1541" y="180"/>
                    <a:pt x="1551" y="181"/>
                    <a:pt x="1565" y="181"/>
                  </a:cubicBezTo>
                  <a:cubicBezTo>
                    <a:pt x="1584" y="181"/>
                    <a:pt x="1605" y="178"/>
                    <a:pt x="1617" y="166"/>
                  </a:cubicBezTo>
                  <a:close/>
                  <a:moveTo>
                    <a:pt x="1709" y="182"/>
                  </a:moveTo>
                  <a:cubicBezTo>
                    <a:pt x="1724" y="182"/>
                    <a:pt x="1735" y="179"/>
                    <a:pt x="1741" y="177"/>
                  </a:cubicBezTo>
                  <a:lnTo>
                    <a:pt x="1736" y="155"/>
                  </a:lnTo>
                  <a:cubicBezTo>
                    <a:pt x="1731" y="157"/>
                    <a:pt x="1721" y="159"/>
                    <a:pt x="1713" y="159"/>
                  </a:cubicBezTo>
                  <a:cubicBezTo>
                    <a:pt x="1688" y="159"/>
                    <a:pt x="1673" y="143"/>
                    <a:pt x="1673" y="118"/>
                  </a:cubicBezTo>
                  <a:cubicBezTo>
                    <a:pt x="1673" y="91"/>
                    <a:pt x="1691" y="77"/>
                    <a:pt x="1713" y="77"/>
                  </a:cubicBezTo>
                  <a:cubicBezTo>
                    <a:pt x="1723" y="77"/>
                    <a:pt x="1731" y="80"/>
                    <a:pt x="1736" y="82"/>
                  </a:cubicBezTo>
                  <a:lnTo>
                    <a:pt x="1742" y="60"/>
                  </a:lnTo>
                  <a:cubicBezTo>
                    <a:pt x="1737" y="57"/>
                    <a:pt x="1726" y="54"/>
                    <a:pt x="1712" y="54"/>
                  </a:cubicBezTo>
                  <a:cubicBezTo>
                    <a:pt x="1674" y="54"/>
                    <a:pt x="1644" y="78"/>
                    <a:pt x="1644" y="120"/>
                  </a:cubicBezTo>
                  <a:cubicBezTo>
                    <a:pt x="1644" y="155"/>
                    <a:pt x="1666" y="182"/>
                    <a:pt x="1709" y="182"/>
                  </a:cubicBezTo>
                  <a:close/>
                  <a:moveTo>
                    <a:pt x="1427" y="176"/>
                  </a:moveTo>
                  <a:cubicBezTo>
                    <a:pt x="1445" y="165"/>
                    <a:pt x="1450" y="140"/>
                    <a:pt x="1450" y="109"/>
                  </a:cubicBezTo>
                  <a:lnTo>
                    <a:pt x="1450" y="79"/>
                  </a:lnTo>
                  <a:lnTo>
                    <a:pt x="1478" y="79"/>
                  </a:lnTo>
                  <a:lnTo>
                    <a:pt x="1478" y="180"/>
                  </a:lnTo>
                  <a:lnTo>
                    <a:pt x="1506" y="180"/>
                  </a:lnTo>
                  <a:lnTo>
                    <a:pt x="1506" y="56"/>
                  </a:lnTo>
                  <a:lnTo>
                    <a:pt x="1422" y="56"/>
                  </a:lnTo>
                  <a:lnTo>
                    <a:pt x="1422" y="110"/>
                  </a:lnTo>
                  <a:cubicBezTo>
                    <a:pt x="1422" y="129"/>
                    <a:pt x="1420" y="145"/>
                    <a:pt x="1413" y="153"/>
                  </a:cubicBezTo>
                  <a:cubicBezTo>
                    <a:pt x="1410" y="156"/>
                    <a:pt x="1405" y="159"/>
                    <a:pt x="1399" y="160"/>
                  </a:cubicBezTo>
                  <a:lnTo>
                    <a:pt x="1402" y="182"/>
                  </a:lnTo>
                  <a:cubicBezTo>
                    <a:pt x="1412" y="182"/>
                    <a:pt x="1421" y="180"/>
                    <a:pt x="1427" y="1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pic>
        <p:nvPicPr>
          <p:cNvPr id="56322" name="Picture 2" descr="G:\2019\ПРОСВЕЩЕНИЕ\2020\август\августовка на переделку\Рисунок1.emf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9542" y="1655303"/>
            <a:ext cx="780452" cy="780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386788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Прямоугольник 47"/>
          <p:cNvSpPr/>
          <p:nvPr/>
        </p:nvSpPr>
        <p:spPr>
          <a:xfrm>
            <a:off x="1" y="1029098"/>
            <a:ext cx="12188950" cy="791464"/>
          </a:xfrm>
          <a:prstGeom prst="rect">
            <a:avLst/>
          </a:prstGeom>
          <a:solidFill>
            <a:srgbClr val="D8EBF4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49" name="TextBox 48"/>
          <p:cNvSpPr txBox="1"/>
          <p:nvPr/>
        </p:nvSpPr>
        <p:spPr>
          <a:xfrm>
            <a:off x="1895322" y="1085439"/>
            <a:ext cx="9761219" cy="6832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20000"/>
              </a:lnSpc>
              <a:defRPr/>
            </a:pPr>
            <a:r>
              <a:rPr lang="ru-RU" sz="16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ФУНКЦИОНАЛЬНАЯ ГРАМОТНОСТЬ. </a:t>
            </a:r>
          </a:p>
          <a:p>
            <a:pPr lvl="0">
              <a:lnSpc>
                <a:spcPct val="120000"/>
              </a:lnSpc>
              <a:defRPr/>
            </a:pPr>
            <a:r>
              <a:rPr lang="ru-RU" sz="16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ТРЕНАЖЁРЫ</a:t>
            </a:r>
            <a:endParaRPr lang="ru-RU" sz="1600" dirty="0">
              <a:solidFill>
                <a:schemeClr val="tx1">
                  <a:lumMod val="95000"/>
                  <a:lumOff val="5000"/>
                </a:schemeClr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50" name="Прямоугольник 49"/>
          <p:cNvSpPr/>
          <p:nvPr/>
        </p:nvSpPr>
        <p:spPr>
          <a:xfrm>
            <a:off x="-3051" y="1029097"/>
            <a:ext cx="1753613" cy="791465"/>
          </a:xfrm>
          <a:prstGeom prst="rect">
            <a:avLst/>
          </a:prstGeom>
          <a:solidFill>
            <a:srgbClr val="40A7E1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58" name="TextBox 57"/>
          <p:cNvSpPr txBox="1"/>
          <p:nvPr/>
        </p:nvSpPr>
        <p:spPr>
          <a:xfrm>
            <a:off x="1873319" y="352674"/>
            <a:ext cx="10029387" cy="3277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b="1" dirty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Серия </a:t>
            </a:r>
            <a:r>
              <a:rPr lang="ru-RU" b="1" dirty="0" smtClean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«ФУНКЦИОНАЛЬНАЯ ГРАМОТНОСТЬ. ТРЕНАЖЁРЫ»</a:t>
            </a:r>
            <a:endParaRPr kumimoji="0" lang="ru-RU" b="1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Open Sans Condensed" pitchFamily="34" charset="0"/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59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0" name="Прямая соединительная линия 5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1" name="Группа 6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2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3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76" name="Прямая соединительная линия 75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5" name="Прямоугольник 54"/>
          <p:cNvSpPr/>
          <p:nvPr/>
        </p:nvSpPr>
        <p:spPr>
          <a:xfrm>
            <a:off x="244876" y="2135846"/>
            <a:ext cx="5661654" cy="4211409"/>
          </a:xfrm>
          <a:prstGeom prst="rect">
            <a:avLst/>
          </a:prstGeom>
        </p:spPr>
        <p:txBody>
          <a:bodyPr wrap="square" lIns="0" tIns="45720" rIns="91440" bIns="45720">
            <a:spAutoFit/>
          </a:bodyPr>
          <a:lstStyle/>
          <a:p>
            <a:pPr marL="285750" indent="-285750" algn="just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Помогают формировать умение осознанно использовать полученные в ходе обучения знания для решения жизненных задач, развивают активность и самостоятельность учащихся, вовлекают их в поисковую и познавательную </a:t>
            </a: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деятельность</a:t>
            </a:r>
            <a:endParaRPr lang="ru-RU" sz="1400" dirty="0">
              <a:solidFill>
                <a:schemeClr val="tx1">
                  <a:lumMod val="75000"/>
                  <a:lumOff val="25000"/>
                </a:schemeClr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285750" indent="-285750" algn="just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Содержат разнообразные практико-ориентированные задания, позволяющие школьникам подготовиться к участию в международных исследованиях качества образования. Приведены примеры их решений и </a:t>
            </a: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ответы.</a:t>
            </a:r>
            <a:endParaRPr lang="ru-RU" sz="1400" dirty="0">
              <a:solidFill>
                <a:schemeClr val="tx1">
                  <a:lumMod val="75000"/>
                  <a:lumOff val="25000"/>
                </a:schemeClr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285750" indent="-285750" algn="just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Могут использоваться учителями математики, русского языка, обществознания, биологии, физики и химии на уроках, во внеурочной деятельности, в системе дополнительного образования, семейного </a:t>
            </a: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образования</a:t>
            </a:r>
            <a:endParaRPr lang="ru-RU" sz="1400" dirty="0">
              <a:solidFill>
                <a:schemeClr val="tx1">
                  <a:lumMod val="75000"/>
                  <a:lumOff val="25000"/>
                </a:schemeClr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285750" indent="-285750" algn="just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Готовится электронный формат (2021 год</a:t>
            </a: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)</a:t>
            </a:r>
            <a:endParaRPr lang="ru-RU" sz="1400" dirty="0">
              <a:solidFill>
                <a:schemeClr val="tx1">
                  <a:lumMod val="75000"/>
                  <a:lumOff val="25000"/>
                </a:schemeClr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285750" indent="-285750" algn="just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endParaRPr lang="ru-RU" sz="1400" dirty="0">
              <a:solidFill>
                <a:schemeClr val="tx1">
                  <a:lumMod val="75000"/>
                  <a:lumOff val="25000"/>
                </a:schemeClr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grpSp>
        <p:nvGrpSpPr>
          <p:cNvPr id="7" name="Группа 6"/>
          <p:cNvGrpSpPr/>
          <p:nvPr/>
        </p:nvGrpSpPr>
        <p:grpSpPr>
          <a:xfrm>
            <a:off x="6049266" y="1203984"/>
            <a:ext cx="5783653" cy="5036581"/>
            <a:chOff x="6314066" y="1335792"/>
            <a:chExt cx="5400141" cy="4702607"/>
          </a:xfrm>
        </p:grpSpPr>
        <p:pic>
          <p:nvPicPr>
            <p:cNvPr id="46" name="Рисунок 45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44692" y="3757717"/>
              <a:ext cx="1716291" cy="2280682"/>
            </a:xfrm>
            <a:prstGeom prst="rect">
              <a:avLst/>
            </a:prstGeom>
            <a:noFill/>
            <a:ln w="12700">
              <a:solidFill>
                <a:schemeClr val="bg2">
                  <a:lumMod val="90000"/>
                </a:schemeClr>
              </a:solidFill>
              <a:miter lim="800000"/>
              <a:headEnd/>
              <a:tailEnd/>
            </a:ln>
            <a:effectLst>
              <a:outerShdw blurRad="190500" dist="38100" dir="5400000" algn="t" rotWithShape="0">
                <a:prstClr val="black">
                  <a:alpha val="10000"/>
                </a:prstClr>
              </a:outerShdw>
            </a:effectLst>
          </p:spPr>
        </p:pic>
        <p:pic>
          <p:nvPicPr>
            <p:cNvPr id="52" name="Picture 3"/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2936" t="16157" r="1798" b="8646"/>
            <a:stretch/>
          </p:blipFill>
          <p:spPr bwMode="auto">
            <a:xfrm>
              <a:off x="6314066" y="1335792"/>
              <a:ext cx="1703343" cy="2280682"/>
            </a:xfrm>
            <a:prstGeom prst="rect">
              <a:avLst/>
            </a:prstGeom>
            <a:noFill/>
            <a:ln w="12700">
              <a:solidFill>
                <a:schemeClr val="bg2">
                  <a:lumMod val="90000"/>
                </a:schemeClr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53" name="Picture 5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3208" t="16909" r="1975" b="9232"/>
            <a:stretch/>
          </p:blipFill>
          <p:spPr bwMode="auto">
            <a:xfrm>
              <a:off x="6314066" y="3757717"/>
              <a:ext cx="1703343" cy="2280682"/>
            </a:xfrm>
            <a:prstGeom prst="rect">
              <a:avLst/>
            </a:prstGeom>
            <a:noFill/>
            <a:ln w="12700">
              <a:solidFill>
                <a:schemeClr val="bg2">
                  <a:lumMod val="90000"/>
                </a:schemeClr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57" name="Picture 6"/>
            <p:cNvPicPr>
              <a:picLocks noChangeAspect="1"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2995" t="16238" r="2007" b="8767"/>
            <a:stretch/>
          </p:blipFill>
          <p:spPr bwMode="auto">
            <a:xfrm>
              <a:off x="8157640" y="1335792"/>
              <a:ext cx="1703343" cy="2280682"/>
            </a:xfrm>
            <a:prstGeom prst="rect">
              <a:avLst/>
            </a:prstGeom>
            <a:noFill/>
            <a:ln w="12700">
              <a:solidFill>
                <a:schemeClr val="bg2">
                  <a:lumMod val="90000"/>
                </a:schemeClr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5" name="Рисунок 4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01213" y="1335792"/>
              <a:ext cx="1712994" cy="2280682"/>
            </a:xfrm>
            <a:prstGeom prst="rect">
              <a:avLst/>
            </a:prstGeom>
            <a:ln>
              <a:solidFill>
                <a:schemeClr val="bg2">
                  <a:lumMod val="90000"/>
                </a:schemeClr>
              </a:solidFill>
            </a:ln>
          </p:spPr>
        </p:pic>
        <p:pic>
          <p:nvPicPr>
            <p:cNvPr id="6" name="Рисунок 5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97916" y="3757717"/>
              <a:ext cx="1716291" cy="2280682"/>
            </a:xfrm>
            <a:prstGeom prst="rect">
              <a:avLst/>
            </a:prstGeom>
            <a:ln>
              <a:solidFill>
                <a:schemeClr val="bg2">
                  <a:lumMod val="90000"/>
                </a:schemeClr>
              </a:solidFill>
            </a:ln>
          </p:spPr>
        </p:pic>
      </p:grp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654946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Прямоугольник 77"/>
          <p:cNvSpPr/>
          <p:nvPr/>
        </p:nvSpPr>
        <p:spPr>
          <a:xfrm>
            <a:off x="238410" y="5910071"/>
            <a:ext cx="11354295" cy="300943"/>
          </a:xfrm>
          <a:prstGeom prst="rect">
            <a:avLst/>
          </a:prstGeom>
          <a:solidFill>
            <a:srgbClr val="D8EBF4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33" name="Прямоугольник 32"/>
          <p:cNvSpPr/>
          <p:nvPr/>
        </p:nvSpPr>
        <p:spPr>
          <a:xfrm>
            <a:off x="1" y="1029098"/>
            <a:ext cx="12188950" cy="791464"/>
          </a:xfrm>
          <a:prstGeom prst="rect">
            <a:avLst/>
          </a:prstGeom>
          <a:solidFill>
            <a:srgbClr val="D8EBF4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76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Прямоугольник 31"/>
          <p:cNvSpPr/>
          <p:nvPr/>
        </p:nvSpPr>
        <p:spPr>
          <a:xfrm>
            <a:off x="238409" y="5903237"/>
            <a:ext cx="11354295" cy="276999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pPr marL="180975" algn="ctr"/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Могут использоваться на </a:t>
            </a: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уроках, во внеурочной деятельности, в системе дополнительного образования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9464369" y="5386052"/>
            <a:ext cx="23115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endParaRPr lang="ru-RU" sz="1400" b="1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54" name="Прямоугольник 53"/>
          <p:cNvSpPr/>
          <p:nvPr/>
        </p:nvSpPr>
        <p:spPr>
          <a:xfrm>
            <a:off x="-3051" y="1029097"/>
            <a:ext cx="1753613" cy="791465"/>
          </a:xfrm>
          <a:prstGeom prst="rect">
            <a:avLst/>
          </a:prstGeom>
          <a:solidFill>
            <a:srgbClr val="40A7E1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55" name="TextBox 54"/>
          <p:cNvSpPr txBox="1"/>
          <p:nvPr/>
        </p:nvSpPr>
        <p:spPr>
          <a:xfrm>
            <a:off x="1873319" y="352674"/>
            <a:ext cx="10029387" cy="3277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b="1" dirty="0" smtClean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Финансовая грамотность</a:t>
            </a:r>
            <a:endParaRPr kumimoji="0" lang="ru-RU" b="1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Open Sans Condensed" pitchFamily="34" charset="0"/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56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57" name="Прямая соединительная линия 56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8" name="Группа 57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59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3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73" name="Прямая соединительная линия 7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5" name="Рисунок 7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77" name="TextBox 76"/>
          <p:cNvSpPr txBox="1"/>
          <p:nvPr/>
        </p:nvSpPr>
        <p:spPr>
          <a:xfrm>
            <a:off x="1895321" y="1269210"/>
            <a:ext cx="1029362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ru-RU" sz="16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ЗАДАЧИ</a:t>
            </a:r>
            <a:endParaRPr lang="ru-RU" sz="1600" spc="-20" dirty="0">
              <a:solidFill>
                <a:schemeClr val="tx1">
                  <a:lumMod val="95000"/>
                  <a:lumOff val="5000"/>
                </a:schemeClr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750562" y="1922911"/>
            <a:ext cx="8980079" cy="11951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 defTabSz="914377">
              <a:lnSpc>
                <a:spcPct val="5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сформировать базовые финансовые </a:t>
            </a: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понятия</a:t>
            </a:r>
            <a:endParaRPr lang="ru-RU" sz="1400" dirty="0">
              <a:solidFill>
                <a:schemeClr val="tx1">
                  <a:lumMod val="75000"/>
                  <a:lumOff val="25000"/>
                </a:schemeClr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285750" indent="-285750" algn="just" defTabSz="914377">
              <a:lnSpc>
                <a:spcPct val="5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научить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ru-RU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грамотно распоряжаться </a:t>
            </a: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деньгами</a:t>
            </a:r>
            <a:endParaRPr lang="ru-RU" sz="1400" dirty="0">
              <a:solidFill>
                <a:schemeClr val="tx1">
                  <a:lumMod val="75000"/>
                  <a:lumOff val="25000"/>
                </a:schemeClr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285750" indent="-285750" algn="just" defTabSz="914377">
              <a:lnSpc>
                <a:spcPct val="5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объяснить взаимосвязь труда и его </a:t>
            </a: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стоимости</a:t>
            </a:r>
            <a:endParaRPr lang="ru-RU" sz="1400" dirty="0">
              <a:solidFill>
                <a:schemeClr val="tx1">
                  <a:lumMod val="75000"/>
                  <a:lumOff val="25000"/>
                </a:schemeClr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285750" indent="-285750" algn="just" defTabSz="914377">
              <a:lnSpc>
                <a:spcPct val="5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познакомить </a:t>
            </a:r>
            <a:r>
              <a:rPr lang="ru-RU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с личным финансовым бюджетом и </a:t>
            </a: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планом</a:t>
            </a:r>
            <a:endParaRPr lang="ru-RU" sz="1400" dirty="0">
              <a:solidFill>
                <a:schemeClr val="tx1">
                  <a:lumMod val="75000"/>
                  <a:lumOff val="25000"/>
                </a:schemeClr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285750" indent="-285750" algn="just" defTabSz="914377">
              <a:lnSpc>
                <a:spcPct val="5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научить делать осознанный выбор для достижения личных финансовых </a:t>
            </a: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целей</a:t>
            </a:r>
            <a:endParaRPr lang="ru-RU" sz="1400" dirty="0">
              <a:solidFill>
                <a:schemeClr val="tx1">
                  <a:lumMod val="75000"/>
                  <a:lumOff val="25000"/>
                </a:schemeClr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pic>
        <p:nvPicPr>
          <p:cNvPr id="38" name="Picture 4" descr="P:\Планы и отчеты ЦИПР\0. МЕТОДИЧЕСКИЙ ОТДЕЛ\Зубкова Екатерина Дмитриевна\Пособия\(cover) Основы финансовой грамотности. 8-9 классы (В.В. Чумаченко, А.П, Горяев)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2368" y="3277095"/>
            <a:ext cx="1856844" cy="24965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3" descr="P:\Планы и отчеты ЦИПР\0. МЕТОДИЧЕСКИЙ ОТДЕЛ\Зубкова Екатерина Дмитриевна\Пособия\(cover) Основы финансовой грамотности. Рабочая тетрадь. 8-9 классы (Чумаченко В.В., Горяев А.П.)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7786" y="3247655"/>
            <a:ext cx="1746396" cy="24965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2" descr="P:\Планы и отчеты ЦИПР\0. МЕТОДИЧЕСКИЙ ОТДЕЛ\Зубкова Екатерина Дмитриевна\Пособия\(cover) Основы финансовой грамотности. Методические рекомендации. 8-9 классы (Чумаченко В.В., Горяев А.П.)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6688" y="3247655"/>
            <a:ext cx="1777736" cy="24965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971" name="Picture 251" descr="https://www.prosv.ru/_data/umk/706/fin_gram_sovr_mir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2998" y="3261617"/>
            <a:ext cx="1767631" cy="2454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974" name="Picture 254" descr="https://www.prosv.ru/_data/umk/708/fin_gram_tsifr_mir_1.jp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95833" y="3215211"/>
            <a:ext cx="1790698" cy="2512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560553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Прямоугольник 69"/>
          <p:cNvSpPr/>
          <p:nvPr/>
        </p:nvSpPr>
        <p:spPr>
          <a:xfrm>
            <a:off x="-11485" y="1157428"/>
            <a:ext cx="12188950" cy="4786183"/>
          </a:xfrm>
          <a:prstGeom prst="rect">
            <a:avLst/>
          </a:prstGeom>
          <a:solidFill>
            <a:schemeClr val="accent1">
              <a:lumMod val="20000"/>
              <a:lumOff val="8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9" name="Прямоугольник 28"/>
          <p:cNvSpPr/>
          <p:nvPr/>
        </p:nvSpPr>
        <p:spPr>
          <a:xfrm>
            <a:off x="7257534" y="2808220"/>
            <a:ext cx="4575385" cy="3205493"/>
          </a:xfrm>
          <a:prstGeom prst="rect">
            <a:avLst/>
          </a:prstGeom>
        </p:spPr>
        <p:txBody>
          <a:bodyPr wrap="square" lIns="91440" tIns="45720" rIns="91440" bIns="4572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lnSpc>
                <a:spcPct val="95000"/>
              </a:lnSpc>
              <a:buClr>
                <a:srgbClr val="0073B8"/>
              </a:buClr>
              <a:buSzPct val="66000"/>
              <a:buFont typeface="Franklin Gothic Book" pitchFamily="34" charset="0"/>
              <a:buChar char="►"/>
            </a:pPr>
            <a:endParaRPr lang="ru-RU" sz="1400" dirty="0"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285750" indent="-285750">
              <a:lnSpc>
                <a:spcPct val="95000"/>
              </a:lnSpc>
              <a:buClr>
                <a:srgbClr val="0073B8"/>
              </a:buClr>
              <a:buSzPct val="66000"/>
              <a:buFont typeface="Franklin Gothic Book" pitchFamily="34" charset="0"/>
              <a:buChar char="►"/>
            </a:pPr>
            <a:r>
              <a:rPr lang="ru-RU" sz="1400" dirty="0">
                <a:latin typeface="Open Sans" pitchFamily="34" charset="0"/>
                <a:ea typeface="Open Sans" pitchFamily="34" charset="0"/>
                <a:cs typeface="Open Sans" pitchFamily="34" charset="0"/>
              </a:rPr>
              <a:t>Пособия знакомят учеников с миром волонтёрства, основными направлениями и </a:t>
            </a:r>
            <a:r>
              <a:rPr lang="ru-RU" sz="14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принципами добровольчества</a:t>
            </a:r>
          </a:p>
          <a:p>
            <a:pPr marL="285750" indent="-285750">
              <a:lnSpc>
                <a:spcPct val="95000"/>
              </a:lnSpc>
              <a:buClr>
                <a:srgbClr val="0073B8"/>
              </a:buClr>
              <a:buSzPct val="66000"/>
              <a:buFont typeface="Franklin Gothic Book" pitchFamily="34" charset="0"/>
              <a:buChar char="►"/>
            </a:pPr>
            <a:endParaRPr lang="ru-RU" sz="1400" dirty="0"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285750" indent="-285750">
              <a:buClr>
                <a:srgbClr val="0073B8"/>
              </a:buClr>
              <a:buSzPct val="66000"/>
              <a:buFont typeface="Franklin Gothic Book" pitchFamily="34" charset="0"/>
              <a:buChar char="►"/>
            </a:pPr>
            <a:r>
              <a:rPr lang="ru-RU" sz="14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Тематические </a:t>
            </a:r>
            <a:r>
              <a:rPr lang="ru-RU" sz="1400" dirty="0">
                <a:latin typeface="Open Sans" pitchFamily="34" charset="0"/>
                <a:ea typeface="Open Sans" pitchFamily="34" charset="0"/>
                <a:cs typeface="Open Sans" pitchFamily="34" charset="0"/>
              </a:rPr>
              <a:t>настольные игры и социальные </a:t>
            </a:r>
            <a:r>
              <a:rPr lang="ru-RU" sz="1400" dirty="0" err="1">
                <a:latin typeface="Open Sans" pitchFamily="34" charset="0"/>
                <a:ea typeface="Open Sans" pitchFamily="34" charset="0"/>
                <a:cs typeface="Open Sans" pitchFamily="34" charset="0"/>
              </a:rPr>
              <a:t>квесты</a:t>
            </a:r>
            <a:r>
              <a:rPr lang="ru-RU" sz="1400" dirty="0"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ru-RU" sz="14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 помогут освоить </a:t>
            </a:r>
            <a:r>
              <a:rPr lang="ru-RU" sz="1400" dirty="0">
                <a:latin typeface="Open Sans" pitchFamily="34" charset="0"/>
                <a:ea typeface="Open Sans" pitchFamily="34" charset="0"/>
                <a:cs typeface="Open Sans" pitchFamily="34" charset="0"/>
              </a:rPr>
              <a:t>и </a:t>
            </a:r>
            <a:r>
              <a:rPr lang="ru-RU" sz="14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применить полученные знания </a:t>
            </a:r>
            <a:r>
              <a:rPr lang="ru-RU" sz="1400" dirty="0">
                <a:latin typeface="Open Sans" pitchFamily="34" charset="0"/>
                <a:ea typeface="Open Sans" pitchFamily="34" charset="0"/>
                <a:cs typeface="Open Sans" pitchFamily="34" charset="0"/>
              </a:rPr>
              <a:t>на </a:t>
            </a:r>
            <a:r>
              <a:rPr lang="ru-RU" sz="14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практике</a:t>
            </a:r>
          </a:p>
          <a:p>
            <a:pPr marL="285750" indent="-285750">
              <a:buClr>
                <a:srgbClr val="0073B8"/>
              </a:buClr>
              <a:buSzPct val="66000"/>
              <a:buFont typeface="Franklin Gothic Book" pitchFamily="34" charset="0"/>
              <a:buChar char="►"/>
            </a:pPr>
            <a:endParaRPr lang="ru-RU" sz="1400" dirty="0"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285750" indent="-285750">
              <a:lnSpc>
                <a:spcPct val="95000"/>
              </a:lnSpc>
              <a:buClr>
                <a:srgbClr val="0073B8"/>
              </a:buClr>
              <a:buSzPct val="66000"/>
              <a:buFont typeface="Franklin Gothic Book" pitchFamily="34" charset="0"/>
              <a:buChar char="►"/>
            </a:pPr>
            <a:r>
              <a:rPr lang="ru-RU" sz="14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Старшеклассникам практические задания помогут определить </a:t>
            </a:r>
            <a:r>
              <a:rPr lang="ru-RU" sz="1400" dirty="0">
                <a:latin typeface="Open Sans" pitchFamily="34" charset="0"/>
                <a:ea typeface="Open Sans" pitchFamily="34" charset="0"/>
                <a:cs typeface="Open Sans" pitchFamily="34" charset="0"/>
              </a:rPr>
              <a:t>свои интересы, выбрать направления волонтёрской работы, оценить перспективы </a:t>
            </a:r>
            <a:r>
              <a:rPr lang="ru-RU" sz="14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разработки </a:t>
            </a:r>
            <a:r>
              <a:rPr lang="ru-RU" sz="1400" dirty="0">
                <a:latin typeface="Open Sans" pitchFamily="34" charset="0"/>
                <a:ea typeface="Open Sans" pitchFamily="34" charset="0"/>
                <a:cs typeface="Open Sans" pitchFamily="34" charset="0"/>
              </a:rPr>
              <a:t>собственных </a:t>
            </a:r>
            <a:r>
              <a:rPr lang="ru-RU" sz="14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волонтёрских проектов</a:t>
            </a:r>
            <a:endParaRPr lang="ru-RU" sz="1400" dirty="0"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285750" indent="-285750">
              <a:lnSpc>
                <a:spcPct val="95000"/>
              </a:lnSpc>
              <a:buClr>
                <a:srgbClr val="0073B8"/>
              </a:buClr>
              <a:buSzPct val="66000"/>
              <a:buFont typeface="Franklin Gothic Book" pitchFamily="34" charset="0"/>
              <a:buChar char="►"/>
            </a:pPr>
            <a:endParaRPr lang="ru-RU" sz="1400" dirty="0" smtClean="0"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grpSp>
        <p:nvGrpSpPr>
          <p:cNvPr id="3" name="Группа 2"/>
          <p:cNvGrpSpPr/>
          <p:nvPr/>
        </p:nvGrpSpPr>
        <p:grpSpPr>
          <a:xfrm>
            <a:off x="244875" y="3245707"/>
            <a:ext cx="6794383" cy="2854921"/>
            <a:chOff x="244876" y="3509438"/>
            <a:chExt cx="6245156" cy="2624142"/>
          </a:xfrm>
        </p:grpSpPr>
        <p:pic>
          <p:nvPicPr>
            <p:cNvPr id="26" name="Picture 3" descr="C:\Users\KAsmerzaeva\Desktop\0028793_550.jpe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95684" y="3509438"/>
              <a:ext cx="1994348" cy="2624142"/>
            </a:xfrm>
            <a:prstGeom prst="rect">
              <a:avLst/>
            </a:prstGeom>
            <a:ln w="12700">
              <a:solidFill>
                <a:schemeClr val="bg2">
                  <a:lumMod val="75000"/>
                </a:schemeClr>
              </a:solidFill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8" name="Picture 2" descr="Изображение Школа волонтёра. 5-7 классы. Учебное пособие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4876" y="3509438"/>
              <a:ext cx="1994348" cy="2624142"/>
            </a:xfrm>
            <a:prstGeom prst="rect">
              <a:avLst/>
            </a:prstGeom>
            <a:noFill/>
            <a:ln>
              <a:solidFill>
                <a:schemeClr val="bg2">
                  <a:lumMod val="75000"/>
                </a:schemeClr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7" name="Рисунок 26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70280" y="3511176"/>
              <a:ext cx="1994348" cy="2622404"/>
            </a:xfrm>
            <a:prstGeom prst="rect">
              <a:avLst/>
            </a:prstGeom>
            <a:ln w="12700">
              <a:solidFill>
                <a:schemeClr val="bg2">
                  <a:lumMod val="75000"/>
                </a:schemeClr>
              </a:solidFill>
            </a:ln>
            <a:effectLst/>
          </p:spPr>
        </p:pic>
      </p:grpSp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grpSp>
        <p:nvGrpSpPr>
          <p:cNvPr id="50" name="Группа 49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52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3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7" name="Прямая соединительная линия 66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Box 68"/>
          <p:cNvSpPr txBox="1"/>
          <p:nvPr/>
        </p:nvSpPr>
        <p:spPr>
          <a:xfrm>
            <a:off x="1873319" y="352674"/>
            <a:ext cx="10029387" cy="3277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b="1" dirty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Волонтёрство – путь к личностному развитию человека</a:t>
            </a:r>
            <a:endParaRPr kumimoji="0" lang="ru-RU" b="1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Open Sans Condensed" pitchFamily="34" charset="0"/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71" name="Прямоугольник 70"/>
          <p:cNvSpPr/>
          <p:nvPr/>
        </p:nvSpPr>
        <p:spPr>
          <a:xfrm>
            <a:off x="-11485" y="1448611"/>
            <a:ext cx="12188950" cy="1068426"/>
          </a:xfrm>
          <a:prstGeom prst="rect">
            <a:avLst/>
          </a:prstGeom>
          <a:solidFill>
            <a:srgbClr val="F5B1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sz="1400" b="1" i="1" dirty="0" smtClean="0">
              <a:solidFill>
                <a:schemeClr val="tx1">
                  <a:lumMod val="95000"/>
                  <a:lumOff val="5000"/>
                </a:schemeClr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r>
              <a:rPr lang="ru-RU" sz="1400" b="1" i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                   «</a:t>
            </a:r>
            <a:r>
              <a:rPr lang="ru-RU" sz="1400" b="1" i="1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Очень важно, что действительно массовым становится </a:t>
            </a:r>
            <a:r>
              <a:rPr lang="ru-RU" sz="1400" b="1" i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волонтёрское </a:t>
            </a:r>
            <a:r>
              <a:rPr lang="ru-RU" sz="1400" b="1" i="1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движение, которое </a:t>
            </a:r>
            <a:r>
              <a:rPr lang="ru-RU" sz="1400" b="1" i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объединяет </a:t>
            </a:r>
            <a:r>
              <a:rPr lang="ru-RU" sz="1400" b="1" i="1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школьников, </a:t>
            </a:r>
            <a:endParaRPr lang="ru-RU" sz="1400" b="1" i="1" dirty="0" smtClean="0">
              <a:solidFill>
                <a:schemeClr val="tx1">
                  <a:lumMod val="95000"/>
                  <a:lumOff val="5000"/>
                </a:schemeClr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r>
              <a:rPr lang="ru-RU" sz="1400" b="1" i="1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ru-RU" sz="1400" b="1" i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                  студентов </a:t>
            </a:r>
            <a:r>
              <a:rPr lang="ru-RU" sz="1400" b="1" i="1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и вообще людей разных поколений и возрастов»</a:t>
            </a:r>
            <a:endParaRPr lang="ru-RU" sz="1400" dirty="0">
              <a:solidFill>
                <a:schemeClr val="tx1">
                  <a:lumMod val="95000"/>
                  <a:lumOff val="5000"/>
                </a:schemeClr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algn="r"/>
            <a:r>
              <a:rPr lang="ru-RU" sz="160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В</a:t>
            </a:r>
            <a:r>
              <a:rPr lang="ru-RU" sz="16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. В</a:t>
            </a:r>
            <a:r>
              <a:rPr lang="ru-RU" sz="160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. Путин</a:t>
            </a:r>
          </a:p>
        </p:txBody>
      </p: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851896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Прямоугольник 28"/>
          <p:cNvSpPr/>
          <p:nvPr/>
        </p:nvSpPr>
        <p:spPr>
          <a:xfrm>
            <a:off x="-3051" y="1656648"/>
            <a:ext cx="12188950" cy="4786183"/>
          </a:xfrm>
          <a:prstGeom prst="rect">
            <a:avLst/>
          </a:prstGeom>
          <a:solidFill>
            <a:schemeClr val="accent1">
              <a:lumMod val="20000"/>
              <a:lumOff val="8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30" name="Прямоугольник 29"/>
          <p:cNvSpPr/>
          <p:nvPr/>
        </p:nvSpPr>
        <p:spPr>
          <a:xfrm>
            <a:off x="1" y="1029098"/>
            <a:ext cx="12188950" cy="494902"/>
          </a:xfrm>
          <a:prstGeom prst="rect">
            <a:avLst/>
          </a:prstGeom>
          <a:solidFill>
            <a:schemeClr val="accent1">
              <a:lumMod val="20000"/>
              <a:lumOff val="8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31" name="TextBox 30"/>
          <p:cNvSpPr txBox="1"/>
          <p:nvPr/>
        </p:nvSpPr>
        <p:spPr>
          <a:xfrm>
            <a:off x="1895322" y="1093677"/>
            <a:ext cx="88962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ru-RU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ВНЕУРОЧНАЯ ДЕЯТЕЛЬНОСТЬ</a:t>
            </a:r>
            <a:endParaRPr lang="ru-RU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49" name="Прямоугольник 48"/>
          <p:cNvSpPr/>
          <p:nvPr/>
        </p:nvSpPr>
        <p:spPr>
          <a:xfrm>
            <a:off x="-3051" y="1029098"/>
            <a:ext cx="1753613" cy="494902"/>
          </a:xfrm>
          <a:prstGeom prst="rect">
            <a:avLst/>
          </a:prstGeom>
          <a:solidFill>
            <a:srgbClr val="40A7E1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5" name="Прямоугольник 54"/>
          <p:cNvSpPr/>
          <p:nvPr/>
        </p:nvSpPr>
        <p:spPr>
          <a:xfrm>
            <a:off x="3991934" y="2164214"/>
            <a:ext cx="7680550" cy="3234219"/>
          </a:xfrm>
          <a:prstGeom prst="rect">
            <a:avLst/>
          </a:prstGeom>
        </p:spPr>
        <p:txBody>
          <a:bodyPr wrap="square" lIns="0" tIns="45720" rIns="91440" bIns="45720">
            <a:spAutoFit/>
          </a:bodyPr>
          <a:lstStyle/>
          <a:p>
            <a:pPr marL="285750" indent="-285750" defTabSz="914377"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подготовка подростков к самостоятельной, осознанной и ответственной </a:t>
            </a:r>
            <a:r>
              <a:rPr lang="ru-RU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жизни</a:t>
            </a:r>
            <a:endParaRPr lang="ru-RU" sz="1400" dirty="0">
              <a:solidFill>
                <a:schemeClr val="tx1">
                  <a:lumMod val="85000"/>
                  <a:lumOff val="15000"/>
                </a:schemeClr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285750" indent="-285750" defTabSz="914377"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создание возможностей для устойчивого развития </a:t>
            </a:r>
            <a:r>
              <a:rPr lang="ru-RU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личности</a:t>
            </a:r>
            <a:endParaRPr lang="ru-RU" sz="1400" dirty="0">
              <a:solidFill>
                <a:schemeClr val="tx1">
                  <a:lumMod val="85000"/>
                  <a:lumOff val="15000"/>
                </a:schemeClr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285750" indent="-285750" defTabSz="914377"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мотивация молодёжи к активной жизненной </a:t>
            </a:r>
            <a:r>
              <a:rPr lang="ru-RU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позиции</a:t>
            </a:r>
            <a:endParaRPr lang="ru-RU" sz="1400" dirty="0">
              <a:solidFill>
                <a:schemeClr val="tx1">
                  <a:lumMod val="85000"/>
                  <a:lumOff val="15000"/>
                </a:schemeClr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285750" indent="-285750" defTabSz="914377"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передача «ключей» к успешной </a:t>
            </a:r>
            <a:r>
              <a:rPr lang="ru-RU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жизни</a:t>
            </a:r>
            <a:endParaRPr lang="ru-RU" sz="1400" dirty="0">
              <a:solidFill>
                <a:schemeClr val="tx1">
                  <a:lumMod val="85000"/>
                  <a:lumOff val="15000"/>
                </a:schemeClr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285750" indent="-285750" defTabSz="914377"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раскрытие потенциала и профессиональная востребованность </a:t>
            </a:r>
            <a:r>
              <a:rPr lang="ru-RU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молодёжи</a:t>
            </a:r>
            <a:r>
              <a:rPr lang="en-US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;</a:t>
            </a:r>
            <a:endParaRPr lang="ru-RU" sz="1400" dirty="0">
              <a:solidFill>
                <a:schemeClr val="tx1">
                  <a:lumMod val="85000"/>
                  <a:lumOff val="15000"/>
                </a:schemeClr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285750" indent="-285750" defTabSz="914377"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освоение социальных и профессиональных </a:t>
            </a:r>
            <a:r>
              <a:rPr lang="ru-RU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навыков</a:t>
            </a:r>
            <a:endParaRPr lang="ru-RU" sz="1400" dirty="0">
              <a:solidFill>
                <a:schemeClr val="tx1">
                  <a:lumMod val="85000"/>
                  <a:lumOff val="15000"/>
                </a:schemeClr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285750" indent="-285750" defTabSz="914377"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развитие директоров и учителей-преподавателей, формирование в школе атмосферы </a:t>
            </a:r>
            <a:r>
              <a:rPr lang="ru-RU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партнёрства</a:t>
            </a:r>
            <a:endParaRPr lang="ru-RU" sz="1400" dirty="0">
              <a:solidFill>
                <a:schemeClr val="tx1">
                  <a:lumMod val="85000"/>
                  <a:lumOff val="15000"/>
                </a:schemeClr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285750" indent="-285750" defTabSz="914377"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создание </a:t>
            </a: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сообщества лидеров, готовых развиваться </a:t>
            </a:r>
            <a:r>
              <a:rPr lang="ru-RU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и </a:t>
            </a: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служить во благо развития и процветания </a:t>
            </a:r>
            <a:r>
              <a:rPr lang="ru-RU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России </a:t>
            </a:r>
            <a:endParaRPr lang="ru-RU" sz="1400" dirty="0">
              <a:solidFill>
                <a:schemeClr val="tx1">
                  <a:lumMod val="85000"/>
                  <a:lumOff val="15000"/>
                </a:schemeClr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58" name="Прямоугольник 57"/>
          <p:cNvSpPr/>
          <p:nvPr/>
        </p:nvSpPr>
        <p:spPr>
          <a:xfrm>
            <a:off x="4431075" y="5659343"/>
            <a:ext cx="6664647" cy="502573"/>
          </a:xfrm>
          <a:prstGeom prst="rect">
            <a:avLst/>
          </a:prstGeom>
        </p:spPr>
        <p:txBody>
          <a:bodyPr wrap="square" lIns="91440" tIns="45720" rIns="91440" bIns="45720">
            <a:spAutoFit/>
          </a:bodyPr>
          <a:lstStyle/>
          <a:p>
            <a:r>
              <a:rPr lang="ru-RU" sz="1333" dirty="0">
                <a:solidFill>
                  <a:srgbClr val="0073B8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Пособие может быть </a:t>
            </a:r>
            <a:r>
              <a:rPr lang="ru-RU" sz="1333" dirty="0" smtClean="0">
                <a:solidFill>
                  <a:srgbClr val="0073B8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использовано </a:t>
            </a:r>
            <a:r>
              <a:rPr lang="ru-RU" sz="1333" dirty="0">
                <a:solidFill>
                  <a:srgbClr val="0073B8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классными руководителями, </a:t>
            </a:r>
          </a:p>
          <a:p>
            <a:r>
              <a:rPr lang="ru-RU" sz="1333" dirty="0">
                <a:solidFill>
                  <a:srgbClr val="0073B8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педагогами-психологами</a:t>
            </a:r>
          </a:p>
        </p:txBody>
      </p:sp>
      <p:pic>
        <p:nvPicPr>
          <p:cNvPr id="59" name="Рисунок 5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1933" y="5714236"/>
            <a:ext cx="437016" cy="416324"/>
          </a:xfrm>
          <a:prstGeom prst="rect">
            <a:avLst/>
          </a:prstGeom>
        </p:spPr>
      </p:pic>
      <p:pic>
        <p:nvPicPr>
          <p:cNvPr id="60" name="Picture 4" descr="Изображение &quot;Я - лидер нового поколения&quot;. Учебное пособие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361" y="1993558"/>
            <a:ext cx="3124532" cy="4130992"/>
          </a:xfrm>
          <a:prstGeom prst="rect">
            <a:avLst/>
          </a:prstGeom>
          <a:noFill/>
          <a:ln w="12700">
            <a:solidFill>
              <a:schemeClr val="bg2">
                <a:lumMod val="9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2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13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53" name="Прямая соединительная линия 52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4" name="Группа 53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5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3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73" name="Прямая соединительная линия 7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TextBox 74"/>
          <p:cNvSpPr txBox="1"/>
          <p:nvPr/>
        </p:nvSpPr>
        <p:spPr>
          <a:xfrm>
            <a:off x="1873319" y="352674"/>
            <a:ext cx="10029387" cy="3277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b="1" dirty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Развитие личностного потенциала учащегося. </a:t>
            </a:r>
            <a:r>
              <a:rPr lang="ru-RU" b="1" dirty="0" smtClean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Я – лидер </a:t>
            </a:r>
            <a:r>
              <a:rPr lang="ru-RU" b="1" dirty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нового поколения</a:t>
            </a:r>
            <a:endParaRPr kumimoji="0" lang="ru-RU" b="1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Open Sans Condensed" pitchFamily="34" charset="0"/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33" name="Прямоугольник 32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824752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14" name="AutoShape 3"/>
          <p:cNvSpPr>
            <a:spLocks noChangeAspect="1" noChangeArrowheads="1" noTextEdit="1"/>
          </p:cNvSpPr>
          <p:nvPr/>
        </p:nvSpPr>
        <p:spPr bwMode="auto">
          <a:xfrm>
            <a:off x="9547391" y="326488"/>
            <a:ext cx="1880724" cy="9174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6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14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grpSp>
        <p:nvGrpSpPr>
          <p:cNvPr id="50" name="Группа 49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54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70" name="Прямая соединительная линия 6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Прямая соединительная линия 71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TextBox 75"/>
          <p:cNvSpPr txBox="1"/>
          <p:nvPr/>
        </p:nvSpPr>
        <p:spPr>
          <a:xfrm>
            <a:off x="1873319" y="352674"/>
            <a:ext cx="10029387" cy="5632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b="1" dirty="0" smtClean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Профориентация. Моя будущая профессия</a:t>
            </a:r>
            <a:br>
              <a:rPr lang="ru-RU" b="1" dirty="0" smtClean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</a:br>
            <a:endParaRPr kumimoji="0" lang="ru-RU" b="1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Open Sans Condensed" pitchFamily="34" charset="0"/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42" name="Прямоугольник 41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41" name="Рисунок 40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06444" y="977462"/>
            <a:ext cx="5398659" cy="2711669"/>
          </a:xfrm>
          <a:prstGeom prst="rect">
            <a:avLst/>
          </a:prstGeom>
        </p:spPr>
      </p:pic>
      <p:sp>
        <p:nvSpPr>
          <p:cNvPr id="43" name="Прямоугольник 42"/>
          <p:cNvSpPr/>
          <p:nvPr/>
        </p:nvSpPr>
        <p:spPr>
          <a:xfrm>
            <a:off x="376122" y="1822598"/>
            <a:ext cx="5910808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rgbClr val="0073B8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Для помощи школьникам в дальнейшем профессиональном выборе создан комплект пособий</a:t>
            </a:r>
          </a:p>
          <a:p>
            <a:r>
              <a:rPr lang="ru-RU" sz="1400" b="1" dirty="0">
                <a:solidFill>
                  <a:srgbClr val="0073B8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«Моя будущая профессия», разработанный специалистами центра тестирования и развития «Гуманитарные технологии</a:t>
            </a:r>
            <a:r>
              <a:rPr lang="ru-RU" sz="1400" b="1" dirty="0" smtClean="0">
                <a:solidFill>
                  <a:srgbClr val="0073B8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»</a:t>
            </a:r>
            <a:endParaRPr lang="ru-RU" sz="1400" b="1" dirty="0">
              <a:solidFill>
                <a:srgbClr val="0073B8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endParaRPr lang="ru-RU" sz="1400" b="1" dirty="0">
              <a:solidFill>
                <a:srgbClr val="0073B8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460962" y="3752583"/>
            <a:ext cx="7463837" cy="16653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1" indent="-285750" algn="just">
              <a:lnSpc>
                <a:spcPct val="85000"/>
              </a:lnSpc>
              <a:spcBef>
                <a:spcPts val="800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300" dirty="0">
                <a:solidFill>
                  <a:schemeClr val="tx1">
                    <a:lumMod val="85000"/>
                    <a:lumOff val="1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Содержат специально разработанные тесты, которые помогут учащимся более точно определить свои интересы, склонности и способности для выбора профессии.</a:t>
            </a:r>
          </a:p>
          <a:p>
            <a:pPr marL="285750" lvl="1" indent="-285750" algn="just">
              <a:lnSpc>
                <a:spcPct val="85000"/>
              </a:lnSpc>
              <a:spcBef>
                <a:spcPts val="800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300" dirty="0">
                <a:solidFill>
                  <a:schemeClr val="tx1">
                    <a:lumMod val="85000"/>
                    <a:lumOff val="1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Включают кейсы с задачами, которые возникают в реальной практике в рамках выбранной профессии и дают возможность погрузиться в ту или иную специальность.</a:t>
            </a:r>
          </a:p>
          <a:p>
            <a:pPr marL="285750" lvl="1" indent="-285750" algn="just">
              <a:lnSpc>
                <a:spcPct val="85000"/>
              </a:lnSpc>
              <a:spcBef>
                <a:spcPts val="800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300" dirty="0">
                <a:solidFill>
                  <a:schemeClr val="tx1">
                    <a:lumMod val="85000"/>
                    <a:lumOff val="1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На основе полученных результатов предлагают конкретные рекомендации по построению образовательного маршрута.</a:t>
            </a:r>
          </a:p>
        </p:txBody>
      </p:sp>
    </p:spTree>
    <p:extLst>
      <p:ext uri="{BB962C8B-B14F-4D97-AF65-F5344CB8AC3E}">
        <p14:creationId xmlns:p14="http://schemas.microsoft.com/office/powerpoint/2010/main" val="18700636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Прямоугольник 113"/>
          <p:cNvSpPr/>
          <p:nvPr/>
        </p:nvSpPr>
        <p:spPr>
          <a:xfrm>
            <a:off x="1753355" y="1029098"/>
            <a:ext cx="10435595" cy="791464"/>
          </a:xfrm>
          <a:prstGeom prst="rect">
            <a:avLst/>
          </a:prstGeom>
          <a:solidFill>
            <a:schemeClr val="accent1">
              <a:lumMod val="20000"/>
              <a:lumOff val="8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3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grpSp>
        <p:nvGrpSpPr>
          <p:cNvPr id="58" name="Группа 57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59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3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73" name="Прямая соединительная линия 7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Прямая соединительная линия 73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TextBox 74"/>
          <p:cNvSpPr txBox="1"/>
          <p:nvPr/>
        </p:nvSpPr>
        <p:spPr>
          <a:xfrm>
            <a:off x="1873319" y="352674"/>
            <a:ext cx="10029387" cy="3277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b="1" dirty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Индивидуальный проект</a:t>
            </a:r>
            <a:endParaRPr kumimoji="0" lang="ru-RU" b="1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Open Sans Condensed" pitchFamily="34" charset="0"/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108" name="Прямоугольник 107"/>
          <p:cNvSpPr/>
          <p:nvPr/>
        </p:nvSpPr>
        <p:spPr>
          <a:xfrm>
            <a:off x="3631084" y="5191205"/>
            <a:ext cx="820183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smtClean="0">
                <a:latin typeface="Open Sans" pitchFamily="34" charset="0"/>
                <a:ea typeface="Open Sans" pitchFamily="34" charset="0"/>
                <a:cs typeface="Open Sans" pitchFamily="34" charset="0"/>
                <a:hlinkClick r:id="rId3"/>
              </a:rPr>
              <a:t>Серия пособий </a:t>
            </a:r>
            <a:r>
              <a:rPr lang="en-US" sz="1400" dirty="0" smtClean="0">
                <a:latin typeface="Open Sans" pitchFamily="34" charset="0"/>
                <a:ea typeface="Open Sans" pitchFamily="34" charset="0"/>
                <a:cs typeface="Open Sans" pitchFamily="34" charset="0"/>
                <a:hlinkClick r:id="rId3"/>
              </a:rPr>
              <a:t>https</a:t>
            </a:r>
            <a:r>
              <a:rPr lang="en-US" sz="1400" dirty="0">
                <a:latin typeface="Open Sans" pitchFamily="34" charset="0"/>
                <a:ea typeface="Open Sans" pitchFamily="34" charset="0"/>
                <a:cs typeface="Open Sans" pitchFamily="34" charset="0"/>
                <a:hlinkClick r:id="rId3"/>
              </a:rPr>
              <a:t>://prosv.ru/static/profil_school</a:t>
            </a:r>
            <a:endParaRPr lang="ru-RU" sz="1400" dirty="0"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09" name="object 8"/>
          <p:cNvSpPr/>
          <p:nvPr/>
        </p:nvSpPr>
        <p:spPr>
          <a:xfrm>
            <a:off x="402812" y="2265405"/>
            <a:ext cx="2727569" cy="3723504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  <a:ln w="9525">
            <a:solidFill>
              <a:schemeClr val="bg2">
                <a:lumMod val="90000"/>
              </a:schemeClr>
            </a:solidFill>
          </a:ln>
        </p:spPr>
        <p:txBody>
          <a:bodyPr wrap="square" lIns="0" tIns="0" rIns="0" bIns="0" rtlCol="0"/>
          <a:lstStyle/>
          <a:p>
            <a:endParaRPr sz="2400" dirty="0"/>
          </a:p>
        </p:txBody>
      </p:sp>
      <p:sp>
        <p:nvSpPr>
          <p:cNvPr id="111" name="TextBox 110"/>
          <p:cNvSpPr txBox="1"/>
          <p:nvPr/>
        </p:nvSpPr>
        <p:spPr>
          <a:xfrm>
            <a:off x="1895322" y="1083483"/>
            <a:ext cx="9415229" cy="7201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20000"/>
              </a:lnSpc>
              <a:defRPr/>
            </a:pPr>
            <a:r>
              <a:rPr lang="ru-RU" sz="16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ИНДИВИДУАЛЬНЫЙ ПРОЕКТ </a:t>
            </a:r>
            <a:r>
              <a:rPr lang="ru-RU" sz="16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— ЭТО </a:t>
            </a:r>
            <a:r>
              <a:rPr lang="ru-RU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ОТДЕЛЬНЫЙ</a:t>
            </a:r>
            <a:r>
              <a:rPr lang="ru-RU" sz="16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КУРС, КОТОРЫЙ В СООТВЕТСТВИИ </a:t>
            </a:r>
          </a:p>
          <a:p>
            <a:pPr lvl="0">
              <a:lnSpc>
                <a:spcPct val="120000"/>
              </a:lnSpc>
              <a:defRPr/>
            </a:pPr>
            <a:r>
              <a:rPr lang="ru-RU" sz="16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С ФГОС СРЕДНЕГО ОБЩЕГО ОБРАЗОВАНИЯ ИЗУЧАЕТСЯ В 10–11 КЛАССАХ</a:t>
            </a:r>
            <a:endParaRPr lang="ru-RU" sz="1600" dirty="0">
              <a:solidFill>
                <a:schemeClr val="tx1">
                  <a:lumMod val="95000"/>
                  <a:lumOff val="5000"/>
                </a:schemeClr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12" name="Прямоугольник 111"/>
          <p:cNvSpPr/>
          <p:nvPr/>
        </p:nvSpPr>
        <p:spPr>
          <a:xfrm>
            <a:off x="-3051" y="1029097"/>
            <a:ext cx="1753613" cy="791465"/>
          </a:xfrm>
          <a:prstGeom prst="rect">
            <a:avLst/>
          </a:prstGeom>
          <a:solidFill>
            <a:srgbClr val="40A7E1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113" name="TextBox 112"/>
          <p:cNvSpPr txBox="1"/>
          <p:nvPr/>
        </p:nvSpPr>
        <p:spPr bwMode="auto">
          <a:xfrm>
            <a:off x="3402230" y="2190009"/>
            <a:ext cx="7792989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spcBef>
                <a:spcPts val="1800"/>
              </a:spcBef>
              <a:defRPr/>
            </a:pPr>
            <a:r>
              <a:rPr lang="ru-RU" sz="1600" b="1" dirty="0">
                <a:solidFill>
                  <a:srgbClr val="0073B8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О чем этот курс</a:t>
            </a:r>
            <a:r>
              <a:rPr lang="ru-RU" sz="1600" b="1" dirty="0" smtClean="0">
                <a:solidFill>
                  <a:srgbClr val="0073B8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:</a:t>
            </a:r>
            <a:endParaRPr kumimoji="0" lang="ru-RU" sz="1600" i="0" u="none" strike="noStrike" kern="1200" cap="none" spc="0" normalizeH="0" baseline="0" noProof="0" dirty="0" smtClean="0">
              <a:ln>
                <a:noFill/>
              </a:ln>
              <a:solidFill>
                <a:schemeClr val="tx1">
                  <a:lumMod val="85000"/>
                  <a:lumOff val="15000"/>
                </a:schemeClr>
              </a:solidFill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285750" lvl="0" indent="-285750">
              <a:spcBef>
                <a:spcPts val="1800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Что такое проектирование и чем оно отличается от других типов деятельности, рассмотрены разные этапы </a:t>
            </a:r>
            <a:r>
              <a:rPr lang="ru-RU" sz="16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проектирования</a:t>
            </a:r>
            <a:endParaRPr lang="ru-RU" sz="1600" dirty="0">
              <a:solidFill>
                <a:schemeClr val="tx1">
                  <a:lumMod val="85000"/>
                  <a:lumOff val="15000"/>
                </a:schemeClr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285750" lvl="0" indent="-285750">
              <a:spcBef>
                <a:spcPts val="1800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В качестве кейсов приведены примеры проектов: современные и разработанные в </a:t>
            </a:r>
            <a:r>
              <a:rPr lang="ru-RU" sz="16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прошлом</a:t>
            </a:r>
            <a:endParaRPr lang="ru-RU" sz="1600" dirty="0">
              <a:solidFill>
                <a:schemeClr val="tx1">
                  <a:lumMod val="85000"/>
                  <a:lumOff val="15000"/>
                </a:schemeClr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285750" lvl="0" indent="-285750">
              <a:spcBef>
                <a:spcPts val="1800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После прохождения курса учащиеся получат необходимые навыки проектной деятельности, овладеют методами поиска, анализа и использования научной информации, смогут публично излагать результаты своей </a:t>
            </a:r>
            <a:r>
              <a:rPr lang="ru-RU" sz="16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работы</a:t>
            </a:r>
            <a:endParaRPr lang="ru-RU" sz="1600" dirty="0">
              <a:solidFill>
                <a:schemeClr val="tx1">
                  <a:lumMod val="85000"/>
                  <a:lumOff val="15000"/>
                </a:schemeClr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lvl="0">
              <a:spcBef>
                <a:spcPts val="1800"/>
              </a:spcBef>
              <a:defRPr/>
            </a:pPr>
            <a:endParaRPr lang="ru-RU" sz="1600" dirty="0">
              <a:solidFill>
                <a:schemeClr val="tx1">
                  <a:lumMod val="85000"/>
                  <a:lumOff val="15000"/>
                </a:schemeClr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305857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7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4190" y="1929782"/>
            <a:ext cx="2271976" cy="32154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2" name="Прямоугольник 71"/>
          <p:cNvSpPr/>
          <p:nvPr/>
        </p:nvSpPr>
        <p:spPr>
          <a:xfrm>
            <a:off x="1" y="1029098"/>
            <a:ext cx="12188950" cy="791464"/>
          </a:xfrm>
          <a:prstGeom prst="rect">
            <a:avLst/>
          </a:prstGeom>
          <a:solidFill>
            <a:srgbClr val="D8EBF4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1895322" y="1085439"/>
            <a:ext cx="845202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altLang="ru-RU" sz="16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МЕЖПРЕЖПРЕДМЕТНЫЙ КАРТОГРАФИЧЕСКИЙ ПРАКТИКУМ </a:t>
            </a:r>
          </a:p>
          <a:p>
            <a:r>
              <a:rPr lang="ru-RU" altLang="ru-RU" sz="16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ДЛЯ РАЗВИТИЯ ФУНКЦИОНАЛЬНОЙ ГРАМОТНОСТИ</a:t>
            </a:r>
            <a:endParaRPr lang="ru-RU" altLang="ru-RU" sz="1600" dirty="0">
              <a:solidFill>
                <a:schemeClr val="tx1">
                  <a:lumMod val="95000"/>
                  <a:lumOff val="5000"/>
                </a:schemeClr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52" name="Прямая соединительная линия 51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3" name="Группа 52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54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3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9" name="Прямая соединительная линия 68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Прямоугольник 70"/>
          <p:cNvSpPr/>
          <p:nvPr/>
        </p:nvSpPr>
        <p:spPr>
          <a:xfrm>
            <a:off x="-3051" y="1029097"/>
            <a:ext cx="1753613" cy="791465"/>
          </a:xfrm>
          <a:prstGeom prst="rect">
            <a:avLst/>
          </a:prstGeom>
          <a:solidFill>
            <a:srgbClr val="40A7E1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42" name="Рисунок 41"/>
          <p:cNvPicPr>
            <a:picLocks noChangeAspect="1"/>
          </p:cNvPicPr>
          <p:nvPr/>
        </p:nvPicPr>
        <p:blipFill>
          <a:blip r:embed="rId4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9" r="239"/>
          <a:stretch>
            <a:fillRect/>
          </a:stretch>
        </p:blipFill>
        <p:spPr bwMode="auto">
          <a:xfrm>
            <a:off x="2662748" y="2346817"/>
            <a:ext cx="886399" cy="886139"/>
          </a:xfrm>
          <a:custGeom>
            <a:avLst/>
            <a:gdLst>
              <a:gd name="T0" fmla="*/ 0 w 2203704"/>
              <a:gd name="T1" fmla="*/ 0 h 2203704"/>
              <a:gd name="T2" fmla="*/ 2205038 w 2203704"/>
              <a:gd name="T3" fmla="*/ 0 h 2203704"/>
              <a:gd name="T4" fmla="*/ 2205038 w 2203704"/>
              <a:gd name="T5" fmla="*/ 2205038 h 2203704"/>
              <a:gd name="T6" fmla="*/ 0 w 2203704"/>
              <a:gd name="T7" fmla="*/ 2205038 h 2203704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203704" h="2203704">
                <a:moveTo>
                  <a:pt x="0" y="0"/>
                </a:moveTo>
                <a:lnTo>
                  <a:pt x="2203704" y="0"/>
                </a:lnTo>
                <a:lnTo>
                  <a:pt x="2203704" y="2203704"/>
                </a:lnTo>
                <a:lnTo>
                  <a:pt x="0" y="2203704"/>
                </a:lnTo>
                <a:lnTo>
                  <a:pt x="0" y="0"/>
                </a:lnTo>
                <a:close/>
              </a:path>
            </a:pathLst>
          </a:cu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  <p:sp>
        <p:nvSpPr>
          <p:cNvPr id="80" name="Rectangle 10"/>
          <p:cNvSpPr>
            <a:spLocks noChangeArrowheads="1"/>
          </p:cNvSpPr>
          <p:nvPr/>
        </p:nvSpPr>
        <p:spPr bwMode="auto">
          <a:xfrm>
            <a:off x="3879534" y="3242094"/>
            <a:ext cx="8149336" cy="348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Lato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Lato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Lato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Lato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Lato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to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to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to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to" pitchFamily="34" charset="0"/>
              </a:defRPr>
            </a:lvl9pPr>
          </a:lstStyle>
          <a:p>
            <a:pPr eaLnBrk="1" hangingPunct="1">
              <a:lnSpc>
                <a:spcPct val="130000"/>
              </a:lnSpc>
            </a:pPr>
            <a:endParaRPr lang="en-US" altLang="ru-RU" sz="14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109" name="Рисунок 10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00" r="12500"/>
          <a:stretch>
            <a:fillRect/>
          </a:stretch>
        </p:blipFill>
        <p:spPr bwMode="auto">
          <a:xfrm>
            <a:off x="2680037" y="3579393"/>
            <a:ext cx="870491" cy="870491"/>
          </a:xfrm>
          <a:custGeom>
            <a:avLst/>
            <a:gdLst>
              <a:gd name="T0" fmla="*/ 0 w 2203704"/>
              <a:gd name="T1" fmla="*/ 0 h 2203704"/>
              <a:gd name="T2" fmla="*/ 2205038 w 2203704"/>
              <a:gd name="T3" fmla="*/ 0 h 2203704"/>
              <a:gd name="T4" fmla="*/ 2205038 w 2203704"/>
              <a:gd name="T5" fmla="*/ 2205038 h 2203704"/>
              <a:gd name="T6" fmla="*/ 0 w 2203704"/>
              <a:gd name="T7" fmla="*/ 2205038 h 2203704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203704" h="2203704">
                <a:moveTo>
                  <a:pt x="0" y="0"/>
                </a:moveTo>
                <a:lnTo>
                  <a:pt x="2203704" y="0"/>
                </a:lnTo>
                <a:lnTo>
                  <a:pt x="2203704" y="2203704"/>
                </a:lnTo>
                <a:lnTo>
                  <a:pt x="0" y="2203704"/>
                </a:lnTo>
                <a:lnTo>
                  <a:pt x="0" y="0"/>
                </a:lnTo>
                <a:close/>
              </a:path>
            </a:pathLst>
          </a:cu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  <p:sp>
        <p:nvSpPr>
          <p:cNvPr id="134" name="Прямоугольник 133"/>
          <p:cNvSpPr/>
          <p:nvPr/>
        </p:nvSpPr>
        <p:spPr>
          <a:xfrm>
            <a:off x="7898690" y="3409789"/>
            <a:ext cx="3941291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Clr>
                <a:srgbClr val="0073B8"/>
              </a:buClr>
              <a:buSzPct val="66000"/>
              <a:buFont typeface="Franklin Gothic Book" pitchFamily="34" charset="0"/>
              <a:buChar char="►"/>
            </a:pPr>
            <a:endParaRPr lang="en-US" altLang="ru-RU" sz="1200" b="1" dirty="0">
              <a:solidFill>
                <a:srgbClr val="0073B8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285750" indent="-285750">
              <a:buClr>
                <a:srgbClr val="0073B8"/>
              </a:buClr>
              <a:buSzPct val="66000"/>
              <a:buFont typeface="Franklin Gothic Book" pitchFamily="34" charset="0"/>
              <a:buChar char="►"/>
            </a:pPr>
            <a:r>
              <a:rPr lang="ru-RU" sz="1200" b="1" dirty="0">
                <a:solidFill>
                  <a:srgbClr val="0073B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Уникальный образовательный</a:t>
            </a:r>
            <a:r>
              <a:rPr lang="en-US" sz="1200" b="1" dirty="0">
                <a:solidFill>
                  <a:srgbClr val="0073B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ru-RU" sz="1200" b="1" dirty="0">
                <a:solidFill>
                  <a:srgbClr val="0073B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аршрут</a:t>
            </a:r>
            <a:endParaRPr lang="en-US" sz="1200" b="1" dirty="0">
              <a:solidFill>
                <a:srgbClr val="0073B8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285750" indent="-285750">
              <a:buClr>
                <a:srgbClr val="0073B8"/>
              </a:buClr>
              <a:buSzPct val="66000"/>
              <a:buFont typeface="Franklin Gothic Book" pitchFamily="34" charset="0"/>
              <a:buChar char="►"/>
            </a:pPr>
            <a:r>
              <a:rPr lang="ru-RU" altLang="ru-RU" sz="12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аждый школьник сможет построить свой уникальный образовательный маршрут без помощи </a:t>
            </a:r>
            <a:r>
              <a:rPr lang="ru-RU" altLang="ru-RU" sz="1200" dirty="0" smtClea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учителя</a:t>
            </a:r>
            <a:endParaRPr lang="en-US" altLang="ru-RU" sz="12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2" name="Группа 11"/>
          <p:cNvGrpSpPr/>
          <p:nvPr/>
        </p:nvGrpSpPr>
        <p:grpSpPr>
          <a:xfrm>
            <a:off x="2763133" y="2000380"/>
            <a:ext cx="8792198" cy="2438160"/>
            <a:chOff x="2826113" y="2175917"/>
            <a:chExt cx="8792198" cy="2438160"/>
          </a:xfrm>
        </p:grpSpPr>
        <p:pic>
          <p:nvPicPr>
            <p:cNvPr id="43" name="Рисунок 42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995" t="3598" r="4995" b="3598"/>
            <a:stretch/>
          </p:blipFill>
          <p:spPr bwMode="auto">
            <a:xfrm>
              <a:off x="7094707" y="2549482"/>
              <a:ext cx="870491" cy="871118"/>
            </a:xfrm>
            <a:custGeom>
              <a:avLst/>
              <a:gdLst>
                <a:gd name="T0" fmla="*/ 0 w 2203704"/>
                <a:gd name="T1" fmla="*/ 0 h 2203704"/>
                <a:gd name="T2" fmla="*/ 2203450 w 2203704"/>
                <a:gd name="T3" fmla="*/ 0 h 2203704"/>
                <a:gd name="T4" fmla="*/ 2203450 w 2203704"/>
                <a:gd name="T5" fmla="*/ 2205038 h 2203704"/>
                <a:gd name="T6" fmla="*/ 0 w 2203704"/>
                <a:gd name="T7" fmla="*/ 2205038 h 220370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203704" h="2203704">
                  <a:moveTo>
                    <a:pt x="0" y="0"/>
                  </a:moveTo>
                  <a:lnTo>
                    <a:pt x="2203704" y="0"/>
                  </a:lnTo>
                  <a:lnTo>
                    <a:pt x="2203704" y="2203704"/>
                  </a:lnTo>
                  <a:lnTo>
                    <a:pt x="0" y="2203704"/>
                  </a:lnTo>
                  <a:lnTo>
                    <a:pt x="0" y="0"/>
                  </a:lnTo>
                  <a:close/>
                </a:path>
              </a:pathLst>
            </a:custGeom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pic>
        <p:pic>
          <p:nvPicPr>
            <p:cNvPr id="44" name="Рисунок 43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91" r="16691"/>
            <a:stretch>
              <a:fillRect/>
            </a:stretch>
          </p:blipFill>
          <p:spPr bwMode="auto">
            <a:xfrm>
              <a:off x="7094707" y="3727041"/>
              <a:ext cx="886399" cy="887036"/>
            </a:xfrm>
            <a:custGeom>
              <a:avLst/>
              <a:gdLst>
                <a:gd name="T0" fmla="*/ 0 w 2203704"/>
                <a:gd name="T1" fmla="*/ 0 h 2203704"/>
                <a:gd name="T2" fmla="*/ 2203450 w 2203704"/>
                <a:gd name="T3" fmla="*/ 0 h 2203704"/>
                <a:gd name="T4" fmla="*/ 2203450 w 2203704"/>
                <a:gd name="T5" fmla="*/ 2205038 h 2203704"/>
                <a:gd name="T6" fmla="*/ 0 w 2203704"/>
                <a:gd name="T7" fmla="*/ 2205038 h 220370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203704" h="2203704">
                  <a:moveTo>
                    <a:pt x="0" y="0"/>
                  </a:moveTo>
                  <a:lnTo>
                    <a:pt x="2203704" y="0"/>
                  </a:lnTo>
                  <a:lnTo>
                    <a:pt x="2203704" y="2203704"/>
                  </a:lnTo>
                  <a:lnTo>
                    <a:pt x="0" y="2203704"/>
                  </a:lnTo>
                  <a:lnTo>
                    <a:pt x="0" y="0"/>
                  </a:lnTo>
                  <a:close/>
                </a:path>
              </a:pathLst>
            </a:custGeom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pic>
        <p:sp>
          <p:nvSpPr>
            <p:cNvPr id="81" name="TextBox 80"/>
            <p:cNvSpPr txBox="1">
              <a:spLocks noChangeArrowheads="1"/>
            </p:cNvSpPr>
            <p:nvPr/>
          </p:nvSpPr>
          <p:spPr bwMode="auto">
            <a:xfrm>
              <a:off x="3894121" y="4044321"/>
              <a:ext cx="184731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Lato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Lato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Lato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Lato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Lato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Lato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Lato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Lato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Lato" pitchFamily="34" charset="0"/>
                </a:defRPr>
              </a:lvl9pPr>
            </a:lstStyle>
            <a:p>
              <a:pPr eaLnBrk="1" hangingPunct="1"/>
              <a:endParaRPr lang="en-US" altLang="ru-RU" sz="14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21" name="TextBox 120"/>
            <p:cNvSpPr txBox="1">
              <a:spLocks noChangeArrowheads="1"/>
            </p:cNvSpPr>
            <p:nvPr/>
          </p:nvSpPr>
          <p:spPr bwMode="auto">
            <a:xfrm>
              <a:off x="2826113" y="2175917"/>
              <a:ext cx="506870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Lato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Lato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Lato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Lato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Lato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Lato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Lato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Lato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Lato" pitchFamily="34" charset="0"/>
                </a:defRPr>
              </a:lvl9pPr>
            </a:lstStyle>
            <a:p>
              <a:pPr eaLnBrk="1" hangingPunct="1"/>
              <a:r>
                <a:rPr lang="en-US" altLang="ru-RU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QR</a:t>
              </a:r>
            </a:p>
          </p:txBody>
        </p:sp>
        <p:sp>
          <p:nvSpPr>
            <p:cNvPr id="127" name="Прямоугольник 126"/>
            <p:cNvSpPr/>
            <p:nvPr/>
          </p:nvSpPr>
          <p:spPr>
            <a:xfrm>
              <a:off x="3541501" y="2569631"/>
              <a:ext cx="3732420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85750" indent="-285750">
                <a:buClr>
                  <a:srgbClr val="0073B8"/>
                </a:buClr>
                <a:buSzPct val="66000"/>
                <a:buFont typeface="Franklin Gothic Book" pitchFamily="34" charset="0"/>
                <a:buChar char="►"/>
                <a:defRPr/>
              </a:pPr>
              <a:r>
                <a:rPr lang="ru-RU" altLang="ru-RU" sz="1200" b="1" dirty="0">
                  <a:solidFill>
                    <a:srgbClr val="0073B8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Доступ к проверенным </a:t>
              </a:r>
              <a:r>
                <a:rPr lang="ru-RU" altLang="ru-RU" sz="1200" b="1" dirty="0" smtClean="0">
                  <a:solidFill>
                    <a:srgbClr val="0073B8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ресурсам</a:t>
              </a:r>
              <a:endParaRPr lang="en-US" altLang="ru-RU" sz="1200" b="1" dirty="0">
                <a:solidFill>
                  <a:srgbClr val="0073B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  <a:p>
              <a:pPr marL="285750" indent="-285750">
                <a:buClr>
                  <a:srgbClr val="0073B8"/>
                </a:buClr>
                <a:buSzPct val="66000"/>
                <a:buFont typeface="Franklin Gothic Book" pitchFamily="34" charset="0"/>
                <a:buChar char="►"/>
                <a:defRPr/>
              </a:pPr>
              <a:r>
                <a:rPr lang="ru-RU" altLang="ru-RU" sz="1200" dirty="0" smtClean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Издательство </a:t>
              </a:r>
              <a:r>
                <a:rPr lang="ru-RU" altLang="ru-RU" sz="120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несёт ответственность за представленные </a:t>
              </a:r>
              <a:r>
                <a:rPr lang="ru-RU" altLang="ru-RU" sz="1200" dirty="0" smtClean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ресурсы </a:t>
              </a:r>
              <a:endParaRPr lang="en-US" altLang="ru-RU" sz="12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24" name="TextBox 123"/>
            <p:cNvSpPr txBox="1">
              <a:spLocks noChangeArrowheads="1"/>
            </p:cNvSpPr>
            <p:nvPr/>
          </p:nvSpPr>
          <p:spPr bwMode="auto">
            <a:xfrm>
              <a:off x="7239044" y="2188356"/>
              <a:ext cx="473206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Lato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Lato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Lato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Lato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Lato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Lato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Lato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Lato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Lato" pitchFamily="34" charset="0"/>
                </a:defRPr>
              </a:lvl9pPr>
            </a:lstStyle>
            <a:p>
              <a:pPr eaLnBrk="1" hangingPunct="1"/>
              <a:r>
                <a:rPr lang="en-US" altLang="ru-RU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AR</a:t>
              </a:r>
            </a:p>
          </p:txBody>
        </p:sp>
        <p:sp>
          <p:nvSpPr>
            <p:cNvPr id="128" name="Прямоугольник 127"/>
            <p:cNvSpPr/>
            <p:nvPr/>
          </p:nvSpPr>
          <p:spPr>
            <a:xfrm>
              <a:off x="3561252" y="3809546"/>
              <a:ext cx="3526490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85750" indent="-285750">
                <a:buClr>
                  <a:srgbClr val="0073B8"/>
                </a:buClr>
                <a:buSzPct val="66000"/>
                <a:buFont typeface="Franklin Gothic Book" pitchFamily="34" charset="0"/>
                <a:buChar char="►"/>
              </a:pPr>
              <a:r>
                <a:rPr lang="ru-RU" sz="1200" b="1" dirty="0">
                  <a:solidFill>
                    <a:srgbClr val="0073B8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Дополняем реальность</a:t>
              </a:r>
              <a:endParaRPr lang="en-US" sz="1200" b="1" dirty="0">
                <a:solidFill>
                  <a:srgbClr val="0073B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  <a:p>
              <a:pPr marL="285750" indent="-285750">
                <a:buClr>
                  <a:srgbClr val="0073B8"/>
                </a:buClr>
                <a:buSzPct val="66000"/>
                <a:buFont typeface="Franklin Gothic Book" pitchFamily="34" charset="0"/>
                <a:buChar char="►"/>
                <a:defRPr/>
              </a:pPr>
              <a:r>
                <a:rPr lang="ru-RU" altLang="ru-RU" sz="120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Атлас привлечёт учащихся современными </a:t>
              </a:r>
              <a:r>
                <a:rPr lang="ru-RU" altLang="ru-RU" sz="1200" dirty="0" smtClean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технологиями</a:t>
              </a:r>
              <a:endParaRPr lang="en-US" altLang="ru-RU" sz="12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33" name="TextBox 132"/>
            <p:cNvSpPr txBox="1">
              <a:spLocks noChangeArrowheads="1"/>
            </p:cNvSpPr>
            <p:nvPr/>
          </p:nvSpPr>
          <p:spPr bwMode="auto">
            <a:xfrm>
              <a:off x="7332561" y="3425977"/>
              <a:ext cx="410690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Lato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Lato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Lato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Lato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Lato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Lato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Lato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Lato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Lato" pitchFamily="34" charset="0"/>
                </a:defRPr>
              </a:lvl9pPr>
            </a:lstStyle>
            <a:p>
              <a:pPr eaLnBrk="1" hangingPunct="1"/>
              <a:r>
                <a:rPr lang="en-US" altLang="ru-RU" dirty="0" smtClean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</a:t>
              </a:r>
              <a:r>
                <a:rPr lang="en-US" altLang="ru-RU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D</a:t>
              </a:r>
            </a:p>
          </p:txBody>
        </p:sp>
        <p:sp>
          <p:nvSpPr>
            <p:cNvPr id="136" name="TextBox 135"/>
            <p:cNvSpPr txBox="1">
              <a:spLocks noChangeArrowheads="1"/>
            </p:cNvSpPr>
            <p:nvPr/>
          </p:nvSpPr>
          <p:spPr bwMode="auto">
            <a:xfrm>
              <a:off x="2881648" y="3422969"/>
              <a:ext cx="296615" cy="2034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Lato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Lato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Lato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Lato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Lato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Lato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Lato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Lato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Lato" pitchFamily="34" charset="0"/>
                </a:defRPr>
              </a:lvl9pPr>
            </a:lstStyle>
            <a:p>
              <a:pPr eaLnBrk="1" hangingPunct="1"/>
              <a:r>
                <a:rPr lang="ru-RU" altLang="ru-RU" dirty="0" smtClean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ФГ</a:t>
              </a:r>
              <a:endParaRPr lang="en-US" altLang="ru-RU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37" name="Прямоугольник 136"/>
            <p:cNvSpPr/>
            <p:nvPr/>
          </p:nvSpPr>
          <p:spPr>
            <a:xfrm>
              <a:off x="7922411" y="2479437"/>
              <a:ext cx="3695900" cy="8309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85750" indent="-285750">
                <a:buClr>
                  <a:srgbClr val="0073B8"/>
                </a:buClr>
                <a:buSzPct val="66000"/>
                <a:buFont typeface="Franklin Gothic Book" pitchFamily="34" charset="0"/>
                <a:buChar char="►"/>
                <a:defRPr/>
              </a:pPr>
              <a:r>
                <a:rPr lang="ru-RU" sz="1200" b="1" dirty="0">
                  <a:solidFill>
                    <a:srgbClr val="0073B8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Финансовая грамотность</a:t>
              </a:r>
            </a:p>
            <a:p>
              <a:pPr marL="285750" indent="-285750">
                <a:buClr>
                  <a:srgbClr val="0073B8"/>
                </a:buClr>
                <a:buSzPct val="66000"/>
                <a:buFont typeface="Franklin Gothic Book" pitchFamily="34" charset="0"/>
                <a:buChar char="►"/>
                <a:defRPr/>
              </a:pPr>
              <a:r>
                <a:rPr lang="ru-RU" altLang="ru-RU" sz="120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Каждое </a:t>
              </a:r>
              <a:r>
                <a:rPr lang="ru-RU" altLang="ru-RU" sz="1200" dirty="0" smtClean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задание </a:t>
              </a:r>
              <a:r>
                <a:rPr lang="ru-RU" altLang="ru-RU" sz="120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связано с жизнью и способствует развитию функциональной </a:t>
              </a:r>
              <a:r>
                <a:rPr lang="ru-RU" altLang="ru-RU" sz="1200" dirty="0" smtClean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грамотности</a:t>
              </a:r>
              <a:endParaRPr lang="en-US" altLang="ru-RU" sz="12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sp>
        <p:nvSpPr>
          <p:cNvPr id="138" name="Block Arc 41"/>
          <p:cNvSpPr/>
          <p:nvPr/>
        </p:nvSpPr>
        <p:spPr>
          <a:xfrm>
            <a:off x="295718" y="5782431"/>
            <a:ext cx="473075" cy="660400"/>
          </a:xfrm>
          <a:custGeom>
            <a:avLst/>
            <a:gdLst/>
            <a:ahLst/>
            <a:cxnLst/>
            <a:rect l="l" t="t" r="r" b="b"/>
            <a:pathLst>
              <a:path w="2512265" h="3505352">
                <a:moveTo>
                  <a:pt x="1276582" y="2106401"/>
                </a:moveTo>
                <a:cubicBezTo>
                  <a:pt x="1154832" y="2195007"/>
                  <a:pt x="1018024" y="2262207"/>
                  <a:pt x="871321" y="2302645"/>
                </a:cubicBezTo>
                <a:cubicBezTo>
                  <a:pt x="1041049" y="2346709"/>
                  <a:pt x="1216984" y="2342691"/>
                  <a:pt x="1380867" y="2295542"/>
                </a:cubicBezTo>
                <a:cubicBezTo>
                  <a:pt x="1352791" y="2227964"/>
                  <a:pt x="1317377" y="2164934"/>
                  <a:pt x="1276582" y="2106401"/>
                </a:cubicBezTo>
                <a:close/>
                <a:moveTo>
                  <a:pt x="931061" y="1768598"/>
                </a:moveTo>
                <a:lnTo>
                  <a:pt x="785084" y="2021438"/>
                </a:lnTo>
                <a:lnTo>
                  <a:pt x="684448" y="2196711"/>
                </a:lnTo>
                <a:cubicBezTo>
                  <a:pt x="868931" y="2169533"/>
                  <a:pt x="1041385" y="2098006"/>
                  <a:pt x="1189228" y="1991290"/>
                </a:cubicBezTo>
                <a:cubicBezTo>
                  <a:pt x="1113839" y="1904543"/>
                  <a:pt x="1026949" y="1829435"/>
                  <a:pt x="931061" y="1768598"/>
                </a:cubicBezTo>
                <a:close/>
                <a:moveTo>
                  <a:pt x="1626242" y="1739577"/>
                </a:moveTo>
                <a:cubicBezTo>
                  <a:pt x="1556851" y="1850020"/>
                  <a:pt x="1471526" y="1947792"/>
                  <a:pt x="1374302" y="2030973"/>
                </a:cubicBezTo>
                <a:cubicBezTo>
                  <a:pt x="1422822" y="2099916"/>
                  <a:pt x="1464618" y="2174537"/>
                  <a:pt x="1497466" y="2254701"/>
                </a:cubicBezTo>
                <a:cubicBezTo>
                  <a:pt x="1664534" y="2184833"/>
                  <a:pt x="1813198" y="2068027"/>
                  <a:pt x="1922549" y="1910651"/>
                </a:cubicBezTo>
                <a:close/>
                <a:moveTo>
                  <a:pt x="531158" y="1601275"/>
                </a:moveTo>
                <a:cubicBezTo>
                  <a:pt x="514831" y="1769123"/>
                  <a:pt x="535254" y="1939877"/>
                  <a:pt x="594029" y="2101141"/>
                </a:cubicBezTo>
                <a:lnTo>
                  <a:pt x="822377" y="1705631"/>
                </a:lnTo>
                <a:cubicBezTo>
                  <a:pt x="730789" y="1658398"/>
                  <a:pt x="632873" y="1623335"/>
                  <a:pt x="531158" y="1601275"/>
                </a:cubicBezTo>
                <a:close/>
                <a:moveTo>
                  <a:pt x="270885" y="1572115"/>
                </a:moveTo>
                <a:cubicBezTo>
                  <a:pt x="231457" y="1572339"/>
                  <a:pt x="191799" y="1574812"/>
                  <a:pt x="152057" y="1579894"/>
                </a:cubicBezTo>
                <a:cubicBezTo>
                  <a:pt x="195418" y="1760005"/>
                  <a:pt x="289893" y="1927350"/>
                  <a:pt x="428945" y="2058945"/>
                </a:cubicBezTo>
                <a:cubicBezTo>
                  <a:pt x="384418" y="1901749"/>
                  <a:pt x="371313" y="1738504"/>
                  <a:pt x="388331" y="1577832"/>
                </a:cubicBezTo>
                <a:cubicBezTo>
                  <a:pt x="349511" y="1573916"/>
                  <a:pt x="310313" y="1571891"/>
                  <a:pt x="270885" y="1572115"/>
                </a:cubicBezTo>
                <a:close/>
                <a:moveTo>
                  <a:pt x="1117422" y="1445810"/>
                </a:moveTo>
                <a:lnTo>
                  <a:pt x="992684" y="1661863"/>
                </a:lnTo>
                <a:cubicBezTo>
                  <a:pt x="1102065" y="1730612"/>
                  <a:pt x="1200940" y="1816138"/>
                  <a:pt x="1286200" y="1915345"/>
                </a:cubicBezTo>
                <a:cubicBezTo>
                  <a:pt x="1368713" y="1844119"/>
                  <a:pt x="1441290" y="1760865"/>
                  <a:pt x="1500981" y="1667258"/>
                </a:cubicBezTo>
                <a:close/>
                <a:moveTo>
                  <a:pt x="2092402" y="1221082"/>
                </a:moveTo>
                <a:cubicBezTo>
                  <a:pt x="2001593" y="1234047"/>
                  <a:pt x="1911092" y="1235450"/>
                  <a:pt x="1822337" y="1227227"/>
                </a:cubicBezTo>
                <a:cubicBezTo>
                  <a:pt x="1800443" y="1366691"/>
                  <a:pt x="1756170" y="1503162"/>
                  <a:pt x="1688847" y="1630684"/>
                </a:cubicBezTo>
                <a:lnTo>
                  <a:pt x="1987299" y="1802996"/>
                </a:lnTo>
                <a:cubicBezTo>
                  <a:pt x="2084887" y="1618081"/>
                  <a:pt x="2117858" y="1415133"/>
                  <a:pt x="2092402" y="1221082"/>
                </a:cubicBezTo>
                <a:close/>
                <a:moveTo>
                  <a:pt x="649579" y="1175701"/>
                </a:moveTo>
                <a:cubicBezTo>
                  <a:pt x="600911" y="1272240"/>
                  <a:pt x="566994" y="1374279"/>
                  <a:pt x="548013" y="1478728"/>
                </a:cubicBezTo>
                <a:cubicBezTo>
                  <a:pt x="665588" y="1503392"/>
                  <a:pt x="778659" y="1543786"/>
                  <a:pt x="883938" y="1599004"/>
                </a:cubicBezTo>
                <a:lnTo>
                  <a:pt x="1008644" y="1383007"/>
                </a:lnTo>
                <a:close/>
                <a:moveTo>
                  <a:pt x="1325201" y="1085928"/>
                </a:moveTo>
                <a:lnTo>
                  <a:pt x="1180226" y="1337032"/>
                </a:lnTo>
                <a:lnTo>
                  <a:pt x="1563461" y="1558293"/>
                </a:lnTo>
                <a:cubicBezTo>
                  <a:pt x="1621429" y="1447029"/>
                  <a:pt x="1659763" y="1328223"/>
                  <a:pt x="1679185" y="1206861"/>
                </a:cubicBezTo>
                <a:cubicBezTo>
                  <a:pt x="1555153" y="1183834"/>
                  <a:pt x="1435895" y="1143161"/>
                  <a:pt x="1325201" y="1085928"/>
                </a:cubicBezTo>
                <a:close/>
                <a:moveTo>
                  <a:pt x="216369" y="925587"/>
                </a:moveTo>
                <a:cubicBezTo>
                  <a:pt x="135862" y="1096620"/>
                  <a:pt x="108667" y="1281041"/>
                  <a:pt x="130011" y="1458436"/>
                </a:cubicBezTo>
                <a:cubicBezTo>
                  <a:pt x="222591" y="1446071"/>
                  <a:pt x="314795" y="1446181"/>
                  <a:pt x="405131" y="1455463"/>
                </a:cubicBezTo>
                <a:cubicBezTo>
                  <a:pt x="426945" y="1333935"/>
                  <a:pt x="466667" y="1215249"/>
                  <a:pt x="524206" y="1103317"/>
                </a:cubicBezTo>
                <a:close/>
                <a:moveTo>
                  <a:pt x="943246" y="797103"/>
                </a:moveTo>
                <a:cubicBezTo>
                  <a:pt x="853400" y="873630"/>
                  <a:pt x="774733" y="963960"/>
                  <a:pt x="711316" y="1066306"/>
                </a:cubicBezTo>
                <a:lnTo>
                  <a:pt x="1071447" y="1274228"/>
                </a:lnTo>
                <a:lnTo>
                  <a:pt x="1215869" y="1024081"/>
                </a:lnTo>
                <a:cubicBezTo>
                  <a:pt x="1115458" y="961776"/>
                  <a:pt x="1023809" y="885272"/>
                  <a:pt x="943246" y="797103"/>
                </a:cubicBezTo>
                <a:close/>
                <a:moveTo>
                  <a:pt x="1777831" y="614825"/>
                </a:moveTo>
                <a:cubicBezTo>
                  <a:pt x="1828108" y="774217"/>
                  <a:pt x="1847177" y="940426"/>
                  <a:pt x="1835302" y="1104709"/>
                </a:cubicBezTo>
                <a:cubicBezTo>
                  <a:pt x="1912529" y="1111680"/>
                  <a:pt x="1991200" y="1110618"/>
                  <a:pt x="2070135" y="1099634"/>
                </a:cubicBezTo>
                <a:cubicBezTo>
                  <a:pt x="2023430" y="916066"/>
                  <a:pt x="1923963" y="746103"/>
                  <a:pt x="1777831" y="614825"/>
                </a:cubicBezTo>
                <a:close/>
                <a:moveTo>
                  <a:pt x="1613169" y="587153"/>
                </a:moveTo>
                <a:lnTo>
                  <a:pt x="1386789" y="979253"/>
                </a:lnTo>
                <a:cubicBezTo>
                  <a:pt x="1482593" y="1028182"/>
                  <a:pt x="1585369" y="1063521"/>
                  <a:pt x="1692132" y="1084514"/>
                </a:cubicBezTo>
                <a:cubicBezTo>
                  <a:pt x="1702376" y="916614"/>
                  <a:pt x="1676765" y="746730"/>
                  <a:pt x="1613169" y="587153"/>
                </a:cubicBezTo>
                <a:close/>
                <a:moveTo>
                  <a:pt x="1500307" y="531421"/>
                </a:moveTo>
                <a:cubicBezTo>
                  <a:pt x="1333628" y="560682"/>
                  <a:pt x="1177718" y="626786"/>
                  <a:pt x="1041762" y="721997"/>
                </a:cubicBezTo>
                <a:cubicBezTo>
                  <a:pt x="1111912" y="797410"/>
                  <a:pt x="1191076" y="863204"/>
                  <a:pt x="1277416" y="917480"/>
                </a:cubicBezTo>
                <a:close/>
                <a:moveTo>
                  <a:pt x="708730" y="442269"/>
                </a:moveTo>
                <a:cubicBezTo>
                  <a:pt x="536145" y="518354"/>
                  <a:pt x="384460" y="645249"/>
                  <a:pt x="277225" y="815684"/>
                </a:cubicBezTo>
                <a:lnTo>
                  <a:pt x="586010" y="993961"/>
                </a:lnTo>
                <a:cubicBezTo>
                  <a:pt x="658009" y="876621"/>
                  <a:pt x="747803" y="773217"/>
                  <a:pt x="850548" y="685844"/>
                </a:cubicBezTo>
                <a:cubicBezTo>
                  <a:pt x="795399" y="611028"/>
                  <a:pt x="747545" y="529652"/>
                  <a:pt x="708730" y="442269"/>
                </a:cubicBezTo>
                <a:close/>
                <a:moveTo>
                  <a:pt x="1114411" y="355452"/>
                </a:moveTo>
                <a:cubicBezTo>
                  <a:pt x="1016499" y="355167"/>
                  <a:pt x="919324" y="369705"/>
                  <a:pt x="826255" y="398131"/>
                </a:cubicBezTo>
                <a:cubicBezTo>
                  <a:pt x="858722" y="474940"/>
                  <a:pt x="900618" y="545829"/>
                  <a:pt x="948599" y="611249"/>
                </a:cubicBezTo>
                <a:cubicBezTo>
                  <a:pt x="1085375" y="512974"/>
                  <a:pt x="1240825" y="441488"/>
                  <a:pt x="1406980" y="401715"/>
                </a:cubicBezTo>
                <a:cubicBezTo>
                  <a:pt x="1310969" y="370847"/>
                  <a:pt x="1212322" y="355738"/>
                  <a:pt x="1114411" y="355452"/>
                </a:cubicBezTo>
                <a:close/>
                <a:moveTo>
                  <a:pt x="1776283" y="295101"/>
                </a:moveTo>
                <a:lnTo>
                  <a:pt x="1710896" y="408983"/>
                </a:lnTo>
                <a:cubicBezTo>
                  <a:pt x="2209777" y="726145"/>
                  <a:pt x="2373723" y="1383396"/>
                  <a:pt x="2075153" y="1900534"/>
                </a:cubicBezTo>
                <a:cubicBezTo>
                  <a:pt x="1777480" y="2416119"/>
                  <a:pt x="1129323" y="2603192"/>
                  <a:pt x="606057" y="2333243"/>
                </a:cubicBezTo>
                <a:lnTo>
                  <a:pt x="534769" y="2457402"/>
                </a:lnTo>
                <a:cubicBezTo>
                  <a:pt x="1115347" y="2755664"/>
                  <a:pt x="1834151" y="2554240"/>
                  <a:pt x="2173557" y="1987198"/>
                </a:cubicBezTo>
                <a:cubicBezTo>
                  <a:pt x="2520801" y="1407062"/>
                  <a:pt x="2343129" y="657734"/>
                  <a:pt x="1776283" y="295101"/>
                </a:cubicBezTo>
                <a:close/>
                <a:moveTo>
                  <a:pt x="1831804" y="0"/>
                </a:moveTo>
                <a:cubicBezTo>
                  <a:pt x="1881515" y="0"/>
                  <a:pt x="1921814" y="40299"/>
                  <a:pt x="1921814" y="90010"/>
                </a:cubicBezTo>
                <a:cubicBezTo>
                  <a:pt x="1921814" y="123853"/>
                  <a:pt x="1903137" y="153333"/>
                  <a:pt x="1874873" y="167531"/>
                </a:cubicBezTo>
                <a:cubicBezTo>
                  <a:pt x="2505724" y="579432"/>
                  <a:pt x="2701456" y="1419035"/>
                  <a:pt x="2311836" y="2069966"/>
                </a:cubicBezTo>
                <a:cubicBezTo>
                  <a:pt x="2067801" y="2477672"/>
                  <a:pt x="1650037" y="2717958"/>
                  <a:pt x="1209422" y="2750781"/>
                </a:cubicBezTo>
                <a:lnTo>
                  <a:pt x="1209422" y="3191198"/>
                </a:lnTo>
                <a:cubicBezTo>
                  <a:pt x="1228953" y="3190691"/>
                  <a:pt x="1248332" y="3191937"/>
                  <a:pt x="1267595" y="3193449"/>
                </a:cubicBezTo>
                <a:cubicBezTo>
                  <a:pt x="1660899" y="3224325"/>
                  <a:pt x="1926978" y="3358049"/>
                  <a:pt x="1884661" y="3503570"/>
                </a:cubicBezTo>
                <a:lnTo>
                  <a:pt x="318693" y="3505352"/>
                </a:lnTo>
                <a:cubicBezTo>
                  <a:pt x="273700" y="3359367"/>
                  <a:pt x="539657" y="3224666"/>
                  <a:pt x="934393" y="3193515"/>
                </a:cubicBezTo>
                <a:lnTo>
                  <a:pt x="993398" y="3191208"/>
                </a:lnTo>
                <a:lnTo>
                  <a:pt x="993398" y="2750894"/>
                </a:lnTo>
                <a:cubicBezTo>
                  <a:pt x="812915" y="2737642"/>
                  <a:pt x="632784" y="2688481"/>
                  <a:pt x="463078" y="2601537"/>
                </a:cubicBezTo>
                <a:cubicBezTo>
                  <a:pt x="463677" y="2602537"/>
                  <a:pt x="463694" y="2603560"/>
                  <a:pt x="463694" y="2604587"/>
                </a:cubicBezTo>
                <a:cubicBezTo>
                  <a:pt x="463694" y="2654298"/>
                  <a:pt x="423395" y="2694597"/>
                  <a:pt x="373684" y="2694597"/>
                </a:cubicBezTo>
                <a:cubicBezTo>
                  <a:pt x="323973" y="2694597"/>
                  <a:pt x="283674" y="2654298"/>
                  <a:pt x="283674" y="2604587"/>
                </a:cubicBezTo>
                <a:cubicBezTo>
                  <a:pt x="283674" y="2554876"/>
                  <a:pt x="323973" y="2514577"/>
                  <a:pt x="373684" y="2514577"/>
                </a:cubicBezTo>
                <a:lnTo>
                  <a:pt x="377019" y="2515250"/>
                </a:lnTo>
                <a:lnTo>
                  <a:pt x="511820" y="2280472"/>
                </a:lnTo>
                <a:lnTo>
                  <a:pt x="495824" y="2271237"/>
                </a:lnTo>
                <a:lnTo>
                  <a:pt x="496783" y="2269575"/>
                </a:lnTo>
                <a:cubicBezTo>
                  <a:pt x="34226" y="1964050"/>
                  <a:pt x="-130424" y="1362029"/>
                  <a:pt x="110016" y="864184"/>
                </a:cubicBezTo>
                <a:lnTo>
                  <a:pt x="106296" y="862036"/>
                </a:lnTo>
                <a:lnTo>
                  <a:pt x="148828" y="788370"/>
                </a:lnTo>
                <a:lnTo>
                  <a:pt x="169099" y="753258"/>
                </a:lnTo>
                <a:lnTo>
                  <a:pt x="170873" y="754281"/>
                </a:lnTo>
                <a:cubicBezTo>
                  <a:pt x="475914" y="264737"/>
                  <a:pt x="1106018" y="92008"/>
                  <a:pt x="1617242" y="355196"/>
                </a:cubicBezTo>
                <a:lnTo>
                  <a:pt x="1748044" y="127384"/>
                </a:lnTo>
                <a:lnTo>
                  <a:pt x="1751959" y="129632"/>
                </a:lnTo>
                <a:cubicBezTo>
                  <a:pt x="1745165" y="117975"/>
                  <a:pt x="1741794" y="104386"/>
                  <a:pt x="1741794" y="90010"/>
                </a:cubicBezTo>
                <a:cubicBezTo>
                  <a:pt x="1741794" y="40299"/>
                  <a:pt x="1782093" y="0"/>
                  <a:pt x="1831804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 sz="2700">
              <a:solidFill>
                <a:schemeClr val="tx1"/>
              </a:solidFill>
            </a:endParaRPr>
          </a:p>
        </p:txBody>
      </p:sp>
      <p:sp>
        <p:nvSpPr>
          <p:cNvPr id="151" name="TextBox 150"/>
          <p:cNvSpPr txBox="1">
            <a:spLocks noChangeArrowheads="1"/>
          </p:cNvSpPr>
          <p:nvPr/>
        </p:nvSpPr>
        <p:spPr bwMode="auto">
          <a:xfrm>
            <a:off x="868559" y="5912958"/>
            <a:ext cx="10176927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Lato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Lato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Lato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Lato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Lato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to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to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to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to" pitchFamily="34" charset="0"/>
              </a:defRPr>
            </a:lvl9pPr>
          </a:lstStyle>
          <a:p>
            <a:r>
              <a:rPr lang="ru-RU" altLang="ru-RU" sz="1400" b="1" dirty="0">
                <a:latin typeface="+mn-lt"/>
              </a:rPr>
              <a:t>С 5 по 9 класс </a:t>
            </a:r>
            <a:r>
              <a:rPr lang="ru-RU" altLang="ru-RU" sz="1400" dirty="0">
                <a:latin typeface="+mn-lt"/>
              </a:rPr>
              <a:t>карты атласа и дополнительный </a:t>
            </a:r>
            <a:r>
              <a:rPr lang="ru-RU" altLang="ru-RU" sz="1400" dirty="0" smtClean="0">
                <a:latin typeface="+mn-lt"/>
              </a:rPr>
              <a:t>материал</a:t>
            </a:r>
            <a:r>
              <a:rPr lang="en-US" altLang="ru-RU" sz="1400" dirty="0" smtClean="0">
                <a:latin typeface="+mn-lt"/>
              </a:rPr>
              <a:t> </a:t>
            </a:r>
            <a:r>
              <a:rPr lang="ru-RU" altLang="ru-RU" sz="1400" dirty="0" smtClean="0">
                <a:latin typeface="+mn-lt"/>
              </a:rPr>
              <a:t>формируют </a:t>
            </a:r>
            <a:r>
              <a:rPr lang="ru-RU" altLang="ru-RU" sz="1400" dirty="0">
                <a:latin typeface="+mn-lt"/>
              </a:rPr>
              <a:t>представление учащихся о том, как происходило </a:t>
            </a:r>
          </a:p>
          <a:p>
            <a:r>
              <a:rPr lang="ru-RU" altLang="ru-RU" sz="1400" dirty="0">
                <a:latin typeface="+mn-lt"/>
              </a:rPr>
              <a:t>освоение материков Земли, как формировался современный </a:t>
            </a:r>
            <a:r>
              <a:rPr lang="ru-RU" altLang="ru-RU" sz="1400" dirty="0" smtClean="0">
                <a:latin typeface="+mn-lt"/>
              </a:rPr>
              <a:t>облик </a:t>
            </a:r>
            <a:r>
              <a:rPr lang="ru-RU" altLang="ru-RU" sz="1400" dirty="0">
                <a:latin typeface="+mn-lt"/>
              </a:rPr>
              <a:t>различных </a:t>
            </a:r>
            <a:r>
              <a:rPr lang="ru-RU" altLang="ru-RU" sz="1400" dirty="0" smtClean="0">
                <a:latin typeface="+mn-lt"/>
              </a:rPr>
              <a:t>территорий</a:t>
            </a:r>
            <a:endParaRPr lang="ru-RU" altLang="ru-RU" sz="1400" dirty="0">
              <a:latin typeface="+mn-lt"/>
            </a:endParaRPr>
          </a:p>
        </p:txBody>
      </p:sp>
      <p:pic>
        <p:nvPicPr>
          <p:cNvPr id="152" name="Рисунок 151">
            <a:extLst>
              <a:ext uri="{FF2B5EF4-FFF2-40B4-BE49-F238E27FC236}">
                <a16:creationId xmlns:a16="http://schemas.microsoft.com/office/drawing/2014/main" id="{966C30FC-355D-4C32-9D71-4E97CB93CC6B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83" r="12783"/>
          <a:stretch>
            <a:fillRect/>
          </a:stretch>
        </p:blipFill>
        <p:spPr>
          <a:xfrm>
            <a:off x="2681147" y="4881913"/>
            <a:ext cx="849600" cy="848988"/>
          </a:xfrm>
          <a:custGeom>
            <a:avLst/>
            <a:gdLst>
              <a:gd name="connsiteX0" fmla="*/ 0 w 2203704"/>
              <a:gd name="connsiteY0" fmla="*/ 0 h 2203704"/>
              <a:gd name="connsiteX1" fmla="*/ 2203704 w 2203704"/>
              <a:gd name="connsiteY1" fmla="*/ 0 h 2203704"/>
              <a:gd name="connsiteX2" fmla="*/ 2203704 w 2203704"/>
              <a:gd name="connsiteY2" fmla="*/ 2203704 h 2203704"/>
              <a:gd name="connsiteX3" fmla="*/ 0 w 2203704"/>
              <a:gd name="connsiteY3" fmla="*/ 2203704 h 2203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03704" h="2203704">
                <a:moveTo>
                  <a:pt x="0" y="0"/>
                </a:moveTo>
                <a:lnTo>
                  <a:pt x="2203704" y="0"/>
                </a:lnTo>
                <a:lnTo>
                  <a:pt x="2203704" y="2203704"/>
                </a:lnTo>
                <a:lnTo>
                  <a:pt x="0" y="2203704"/>
                </a:lnTo>
                <a:close/>
              </a:path>
            </a:pathLst>
          </a:custGeom>
        </p:spPr>
      </p:pic>
      <p:sp>
        <p:nvSpPr>
          <p:cNvPr id="153" name="Прямоугольник 152"/>
          <p:cNvSpPr/>
          <p:nvPr/>
        </p:nvSpPr>
        <p:spPr>
          <a:xfrm>
            <a:off x="3549147" y="4942551"/>
            <a:ext cx="338953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200" b="1" dirty="0" smtClean="0">
                <a:solidFill>
                  <a:srgbClr val="0073B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Разноуровневый подход</a:t>
            </a:r>
            <a:r>
              <a:rPr lang="en-US" sz="1200" b="1" dirty="0" smtClean="0">
                <a:solidFill>
                  <a:srgbClr val="0073B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ru-RU" sz="1200" b="1" dirty="0" smtClean="0">
                <a:solidFill>
                  <a:srgbClr val="0073B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обучения </a:t>
            </a:r>
            <a:endParaRPr lang="en-US" sz="1200" b="1" dirty="0" smtClean="0">
              <a:solidFill>
                <a:srgbClr val="0073B8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285750" lvl="0" indent="-285750"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altLang="ru-RU" sz="1200" dirty="0" smtClea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Успешен </a:t>
            </a:r>
            <a:r>
              <a:rPr lang="ru-RU" altLang="ru-RU" sz="12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аждый ученик. Действия «здесь и сейчас</a:t>
            </a:r>
            <a:r>
              <a:rPr lang="ru-RU" altLang="ru-RU" sz="1200" dirty="0" smtClea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»</a:t>
            </a:r>
            <a:endParaRPr lang="en-US" altLang="ru-RU" sz="12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54" name="TextBox 153"/>
          <p:cNvSpPr txBox="1">
            <a:spLocks noChangeArrowheads="1"/>
          </p:cNvSpPr>
          <p:nvPr/>
        </p:nvSpPr>
        <p:spPr bwMode="auto">
          <a:xfrm>
            <a:off x="2781534" y="4527361"/>
            <a:ext cx="2884316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Lato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Lato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Lato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Lato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Lato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to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to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to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to" pitchFamily="34" charset="0"/>
              </a:defRPr>
            </a:lvl9pPr>
          </a:lstStyle>
          <a:p>
            <a:pPr eaLnBrk="1" hangingPunct="1"/>
            <a:r>
              <a:rPr lang="ru-RU" altLang="ru-RU" dirty="0" smtClea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Дидактические находки</a:t>
            </a:r>
            <a:endParaRPr lang="en-US" altLang="ru-RU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155" name="Рисунок 154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41" r="2741"/>
          <a:stretch>
            <a:fillRect/>
          </a:stretch>
        </p:blipFill>
        <p:spPr>
          <a:xfrm>
            <a:off x="7012937" y="4870291"/>
            <a:ext cx="886400" cy="888416"/>
          </a:xfrm>
          <a:custGeom>
            <a:avLst/>
            <a:gdLst>
              <a:gd name="connsiteX0" fmla="*/ 0 w 2589826"/>
              <a:gd name="connsiteY0" fmla="*/ 0 h 2055224"/>
              <a:gd name="connsiteX1" fmla="*/ 2589826 w 2589826"/>
              <a:gd name="connsiteY1" fmla="*/ 0 h 2055224"/>
              <a:gd name="connsiteX2" fmla="*/ 2589826 w 2589826"/>
              <a:gd name="connsiteY2" fmla="*/ 2055224 h 2055224"/>
              <a:gd name="connsiteX3" fmla="*/ 0 w 2589826"/>
              <a:gd name="connsiteY3" fmla="*/ 2055224 h 20552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89826" h="2055224">
                <a:moveTo>
                  <a:pt x="0" y="0"/>
                </a:moveTo>
                <a:lnTo>
                  <a:pt x="2589826" y="0"/>
                </a:lnTo>
                <a:lnTo>
                  <a:pt x="2589826" y="2055224"/>
                </a:lnTo>
                <a:lnTo>
                  <a:pt x="0" y="2055224"/>
                </a:lnTo>
                <a:close/>
              </a:path>
            </a:pathLst>
          </a:custGeom>
        </p:spPr>
      </p:pic>
      <p:sp>
        <p:nvSpPr>
          <p:cNvPr id="156" name="TextBox 155"/>
          <p:cNvSpPr txBox="1">
            <a:spLocks noChangeArrowheads="1"/>
          </p:cNvSpPr>
          <p:nvPr/>
        </p:nvSpPr>
        <p:spPr bwMode="auto">
          <a:xfrm>
            <a:off x="6933659" y="4500959"/>
            <a:ext cx="282962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Lato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Lato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Lato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Lato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Lato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to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to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to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to" pitchFamily="34" charset="0"/>
              </a:defRPr>
            </a:lvl9pPr>
          </a:lstStyle>
          <a:p>
            <a:pPr eaLnBrk="1" hangingPunct="1"/>
            <a:r>
              <a:rPr lang="ru-RU" altLang="ru-RU" dirty="0" smtClea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Цифровое расширение</a:t>
            </a:r>
            <a:endParaRPr lang="en-US" altLang="ru-RU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57" name="Прямоугольник 156"/>
          <p:cNvSpPr/>
          <p:nvPr/>
        </p:nvSpPr>
        <p:spPr>
          <a:xfrm>
            <a:off x="8056573" y="4920068"/>
            <a:ext cx="384613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altLang="ru-RU" sz="1200" b="1" dirty="0">
                <a:solidFill>
                  <a:srgbClr val="0073B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Документы. Изображение. Видео. Аудио</a:t>
            </a:r>
          </a:p>
          <a:p>
            <a:pPr marL="285750" indent="-285750"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altLang="ru-RU" sz="1200" dirty="0" smtClea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сылки </a:t>
            </a:r>
            <a:r>
              <a:rPr lang="ru-RU" altLang="ru-RU" sz="12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на изображения, иллюстрирующие места, события, дополняющие </a:t>
            </a:r>
            <a:r>
              <a:rPr lang="ru-RU" altLang="ru-RU" sz="1200" dirty="0" smtClea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задания</a:t>
            </a:r>
            <a:endParaRPr lang="en-US" altLang="ru-RU" sz="12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285750" indent="-285750"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altLang="ru-RU" sz="12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Доступ к </a:t>
            </a:r>
            <a:r>
              <a:rPr lang="ru-RU" altLang="ru-RU" sz="1200" dirty="0" err="1" smtClea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аудиофрагментам</a:t>
            </a:r>
            <a:endParaRPr lang="en-US" altLang="ru-RU" sz="12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1873319" y="352674"/>
            <a:ext cx="10029387" cy="3277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kumimoji="0" lang="ru-RU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Учебн</a:t>
            </a:r>
            <a:r>
              <a:rPr lang="ru-RU" b="1" dirty="0" err="1" smtClean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ые</a:t>
            </a:r>
            <a:r>
              <a:rPr lang="ru-RU" b="1" dirty="0" smtClean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 пособия</a:t>
            </a:r>
            <a:r>
              <a:rPr kumimoji="0" lang="ru-RU" b="1" i="0" u="none" strike="noStrike" kern="1200" cap="none" spc="0" normalizeH="0" baseline="0" noProof="0" dirty="0" smtClean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 с</a:t>
            </a:r>
            <a:r>
              <a:rPr kumimoji="0" lang="ru-RU" b="1" i="0" u="none" strike="noStrike" kern="1200" cap="none" spc="0" normalizeH="0" noProof="0" dirty="0" smtClean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 дополненной реальностью (</a:t>
            </a:r>
            <a:r>
              <a:rPr kumimoji="0" lang="en-US" b="1" i="0" u="none" strike="noStrike" kern="1200" cap="none" spc="0" normalizeH="0" noProof="0" dirty="0" smtClean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AR)</a:t>
            </a:r>
            <a:endParaRPr kumimoji="0" lang="ru-RU" b="1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Open Sans Condensed" pitchFamily="34" charset="0"/>
              <a:ea typeface="Open Sans Condensed" pitchFamily="34" charset="0"/>
              <a:cs typeface="Open Sans Condensed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05017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1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5"/>
          <p:cNvSpPr>
            <a:spLocks noChangeArrowheads="1"/>
          </p:cNvSpPr>
          <p:nvPr/>
        </p:nvSpPr>
        <p:spPr bwMode="auto">
          <a:xfrm>
            <a:off x="-1" y="8533"/>
            <a:ext cx="12192001" cy="6849467"/>
          </a:xfrm>
          <a:prstGeom prst="rect">
            <a:avLst/>
          </a:prstGeom>
          <a:solidFill>
            <a:srgbClr val="F0F8F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8" name="Прямоугольник 97"/>
          <p:cNvSpPr/>
          <p:nvPr/>
        </p:nvSpPr>
        <p:spPr>
          <a:xfrm>
            <a:off x="186182" y="2852936"/>
            <a:ext cx="11819633" cy="3360373"/>
          </a:xfrm>
          <a:prstGeom prst="rect">
            <a:avLst/>
          </a:prstGeom>
          <a:solidFill>
            <a:srgbClr val="D8EB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29" name="Rectangle 7"/>
          <p:cNvSpPr>
            <a:spLocks noChangeArrowheads="1"/>
          </p:cNvSpPr>
          <p:nvPr/>
        </p:nvSpPr>
        <p:spPr bwMode="auto">
          <a:xfrm>
            <a:off x="7573455" y="202455"/>
            <a:ext cx="1477453" cy="1233124"/>
          </a:xfrm>
          <a:prstGeom prst="rect">
            <a:avLst/>
          </a:prstGeom>
          <a:solidFill>
            <a:srgbClr val="9ED44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0" name="Rectangle 8"/>
          <p:cNvSpPr>
            <a:spLocks noChangeArrowheads="1"/>
          </p:cNvSpPr>
          <p:nvPr/>
        </p:nvSpPr>
        <p:spPr bwMode="auto">
          <a:xfrm>
            <a:off x="4618544" y="203633"/>
            <a:ext cx="1477453" cy="1233124"/>
          </a:xfrm>
          <a:prstGeom prst="rect">
            <a:avLst/>
          </a:prstGeom>
          <a:solidFill>
            <a:srgbClr val="9ED44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2" name="Rectangle 10"/>
          <p:cNvSpPr>
            <a:spLocks noChangeArrowheads="1"/>
          </p:cNvSpPr>
          <p:nvPr/>
        </p:nvSpPr>
        <p:spPr bwMode="auto">
          <a:xfrm>
            <a:off x="7573455" y="1436757"/>
            <a:ext cx="1477453" cy="1233124"/>
          </a:xfrm>
          <a:prstGeom prst="rect">
            <a:avLst/>
          </a:prstGeom>
          <a:solidFill>
            <a:srgbClr val="40A7E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3" name="Rectangle 11"/>
          <p:cNvSpPr>
            <a:spLocks noChangeArrowheads="1"/>
          </p:cNvSpPr>
          <p:nvPr/>
        </p:nvSpPr>
        <p:spPr bwMode="auto">
          <a:xfrm>
            <a:off x="3141091" y="203633"/>
            <a:ext cx="1477453" cy="1233124"/>
          </a:xfrm>
          <a:prstGeom prst="rect">
            <a:avLst/>
          </a:prstGeom>
          <a:solidFill>
            <a:srgbClr val="5471A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4" name="Rectangle 12"/>
          <p:cNvSpPr>
            <a:spLocks noChangeArrowheads="1"/>
          </p:cNvSpPr>
          <p:nvPr/>
        </p:nvSpPr>
        <p:spPr bwMode="auto">
          <a:xfrm>
            <a:off x="6096002" y="203633"/>
            <a:ext cx="1477453" cy="1233124"/>
          </a:xfrm>
          <a:prstGeom prst="rect">
            <a:avLst/>
          </a:prstGeom>
          <a:solidFill>
            <a:srgbClr val="4383D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5" name="Rectangle 13"/>
          <p:cNvSpPr>
            <a:spLocks noChangeArrowheads="1"/>
          </p:cNvSpPr>
          <p:nvPr/>
        </p:nvSpPr>
        <p:spPr bwMode="auto">
          <a:xfrm>
            <a:off x="10528363" y="203633"/>
            <a:ext cx="1477453" cy="1233124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6" name="Rectangle 14"/>
          <p:cNvSpPr>
            <a:spLocks noChangeArrowheads="1"/>
          </p:cNvSpPr>
          <p:nvPr/>
        </p:nvSpPr>
        <p:spPr bwMode="auto">
          <a:xfrm>
            <a:off x="9050908" y="1436757"/>
            <a:ext cx="1477453" cy="1233124"/>
          </a:xfrm>
          <a:prstGeom prst="rect">
            <a:avLst/>
          </a:prstGeom>
          <a:solidFill>
            <a:srgbClr val="5471A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7" name="Rectangle 15"/>
          <p:cNvSpPr>
            <a:spLocks noChangeArrowheads="1"/>
          </p:cNvSpPr>
          <p:nvPr/>
        </p:nvSpPr>
        <p:spPr bwMode="auto">
          <a:xfrm>
            <a:off x="186183" y="203633"/>
            <a:ext cx="1477453" cy="1233124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9" name="Rectangle 17"/>
          <p:cNvSpPr>
            <a:spLocks noChangeArrowheads="1"/>
          </p:cNvSpPr>
          <p:nvPr/>
        </p:nvSpPr>
        <p:spPr bwMode="auto">
          <a:xfrm>
            <a:off x="9050910" y="202454"/>
            <a:ext cx="1477453" cy="1233124"/>
          </a:xfrm>
          <a:prstGeom prst="rect">
            <a:avLst/>
          </a:prstGeom>
          <a:solidFill>
            <a:srgbClr val="F5B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1" name="Rectangle 19"/>
          <p:cNvSpPr>
            <a:spLocks noChangeArrowheads="1"/>
          </p:cNvSpPr>
          <p:nvPr/>
        </p:nvSpPr>
        <p:spPr bwMode="auto">
          <a:xfrm>
            <a:off x="6096002" y="1436757"/>
            <a:ext cx="1477453" cy="1233124"/>
          </a:xfrm>
          <a:prstGeom prst="rect">
            <a:avLst/>
          </a:prstGeom>
          <a:solidFill>
            <a:srgbClr val="40D4E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2" name="Rectangle 20"/>
          <p:cNvSpPr>
            <a:spLocks noChangeArrowheads="1"/>
          </p:cNvSpPr>
          <p:nvPr/>
        </p:nvSpPr>
        <p:spPr bwMode="auto">
          <a:xfrm>
            <a:off x="10528363" y="1436757"/>
            <a:ext cx="1477453" cy="1233124"/>
          </a:xfrm>
          <a:prstGeom prst="rect">
            <a:avLst/>
          </a:prstGeom>
          <a:solidFill>
            <a:srgbClr val="F5B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3" name="Rectangle 21"/>
          <p:cNvSpPr>
            <a:spLocks noChangeArrowheads="1"/>
          </p:cNvSpPr>
          <p:nvPr/>
        </p:nvSpPr>
        <p:spPr bwMode="auto">
          <a:xfrm>
            <a:off x="4618544" y="1436757"/>
            <a:ext cx="1477453" cy="1233124"/>
          </a:xfrm>
          <a:prstGeom prst="rect">
            <a:avLst/>
          </a:prstGeom>
          <a:solidFill>
            <a:srgbClr val="40A7E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4" name="Rectangle 22"/>
          <p:cNvSpPr>
            <a:spLocks noChangeArrowheads="1"/>
          </p:cNvSpPr>
          <p:nvPr/>
        </p:nvSpPr>
        <p:spPr bwMode="auto">
          <a:xfrm>
            <a:off x="3141091" y="1436757"/>
            <a:ext cx="1477453" cy="1233124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6" name="Rectangle 24"/>
          <p:cNvSpPr>
            <a:spLocks noChangeArrowheads="1"/>
          </p:cNvSpPr>
          <p:nvPr/>
        </p:nvSpPr>
        <p:spPr bwMode="auto">
          <a:xfrm>
            <a:off x="1663636" y="203633"/>
            <a:ext cx="1477453" cy="1233124"/>
          </a:xfrm>
          <a:prstGeom prst="rect">
            <a:avLst/>
          </a:prstGeom>
          <a:solidFill>
            <a:srgbClr val="F5B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7" name="Rectangle 25"/>
          <p:cNvSpPr>
            <a:spLocks noChangeArrowheads="1"/>
          </p:cNvSpPr>
          <p:nvPr/>
        </p:nvSpPr>
        <p:spPr bwMode="auto">
          <a:xfrm>
            <a:off x="1663636" y="1436757"/>
            <a:ext cx="1477453" cy="1233124"/>
          </a:xfrm>
          <a:prstGeom prst="rect">
            <a:avLst/>
          </a:prstGeom>
          <a:solidFill>
            <a:srgbClr val="4383D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1" name="Rectangle 29"/>
          <p:cNvSpPr>
            <a:spLocks noChangeArrowheads="1"/>
          </p:cNvSpPr>
          <p:nvPr/>
        </p:nvSpPr>
        <p:spPr bwMode="auto">
          <a:xfrm>
            <a:off x="186183" y="1436757"/>
            <a:ext cx="1477453" cy="1233124"/>
          </a:xfrm>
          <a:prstGeom prst="rect">
            <a:avLst/>
          </a:prstGeom>
          <a:solidFill>
            <a:srgbClr val="9ED44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4" name="Freeform 32"/>
          <p:cNvSpPr>
            <a:spLocks noEditPoints="1"/>
          </p:cNvSpPr>
          <p:nvPr/>
        </p:nvSpPr>
        <p:spPr bwMode="auto">
          <a:xfrm>
            <a:off x="8017892" y="1855717"/>
            <a:ext cx="591581" cy="444227"/>
          </a:xfrm>
          <a:custGeom>
            <a:avLst/>
            <a:gdLst>
              <a:gd name="T0" fmla="*/ 787 w 859"/>
              <a:gd name="T1" fmla="*/ 107 h 644"/>
              <a:gd name="T2" fmla="*/ 787 w 859"/>
              <a:gd name="T3" fmla="*/ 573 h 644"/>
              <a:gd name="T4" fmla="*/ 537 w 859"/>
              <a:gd name="T5" fmla="*/ 573 h 644"/>
              <a:gd name="T6" fmla="*/ 465 w 859"/>
              <a:gd name="T7" fmla="*/ 644 h 644"/>
              <a:gd name="T8" fmla="*/ 859 w 859"/>
              <a:gd name="T9" fmla="*/ 644 h 644"/>
              <a:gd name="T10" fmla="*/ 859 w 859"/>
              <a:gd name="T11" fmla="*/ 107 h 644"/>
              <a:gd name="T12" fmla="*/ 787 w 859"/>
              <a:gd name="T13" fmla="*/ 107 h 644"/>
              <a:gd name="T14" fmla="*/ 476 w 859"/>
              <a:gd name="T15" fmla="*/ 476 h 644"/>
              <a:gd name="T16" fmla="*/ 383 w 859"/>
              <a:gd name="T17" fmla="*/ 476 h 644"/>
              <a:gd name="T18" fmla="*/ 373 w 859"/>
              <a:gd name="T19" fmla="*/ 465 h 644"/>
              <a:gd name="T20" fmla="*/ 179 w 859"/>
              <a:gd name="T21" fmla="*/ 465 h 644"/>
              <a:gd name="T22" fmla="*/ 179 w 859"/>
              <a:gd name="T23" fmla="*/ 71 h 644"/>
              <a:gd name="T24" fmla="*/ 344 w 859"/>
              <a:gd name="T25" fmla="*/ 71 h 644"/>
              <a:gd name="T26" fmla="*/ 393 w 859"/>
              <a:gd name="T27" fmla="*/ 96 h 644"/>
              <a:gd name="T28" fmla="*/ 393 w 859"/>
              <a:gd name="T29" fmla="*/ 358 h 644"/>
              <a:gd name="T30" fmla="*/ 465 w 859"/>
              <a:gd name="T31" fmla="*/ 358 h 644"/>
              <a:gd name="T32" fmla="*/ 465 w 859"/>
              <a:gd name="T33" fmla="*/ 96 h 644"/>
              <a:gd name="T34" fmla="*/ 515 w 859"/>
              <a:gd name="T35" fmla="*/ 71 h 644"/>
              <a:gd name="T36" fmla="*/ 680 w 859"/>
              <a:gd name="T37" fmla="*/ 71 h 644"/>
              <a:gd name="T38" fmla="*/ 680 w 859"/>
              <a:gd name="T39" fmla="*/ 465 h 644"/>
              <a:gd name="T40" fmla="*/ 486 w 859"/>
              <a:gd name="T41" fmla="*/ 465 h 644"/>
              <a:gd name="T42" fmla="*/ 476 w 859"/>
              <a:gd name="T43" fmla="*/ 476 h 644"/>
              <a:gd name="T44" fmla="*/ 752 w 859"/>
              <a:gd name="T45" fmla="*/ 537 h 644"/>
              <a:gd name="T46" fmla="*/ 752 w 859"/>
              <a:gd name="T47" fmla="*/ 0 h 644"/>
              <a:gd name="T48" fmla="*/ 486 w 859"/>
              <a:gd name="T49" fmla="*/ 0 h 644"/>
              <a:gd name="T50" fmla="*/ 476 w 859"/>
              <a:gd name="T51" fmla="*/ 10 h 644"/>
              <a:gd name="T52" fmla="*/ 383 w 859"/>
              <a:gd name="T53" fmla="*/ 10 h 644"/>
              <a:gd name="T54" fmla="*/ 373 w 859"/>
              <a:gd name="T55" fmla="*/ 0 h 644"/>
              <a:gd name="T56" fmla="*/ 107 w 859"/>
              <a:gd name="T57" fmla="*/ 0 h 644"/>
              <a:gd name="T58" fmla="*/ 107 w 859"/>
              <a:gd name="T59" fmla="*/ 537 h 644"/>
              <a:gd name="T60" fmla="*/ 344 w 859"/>
              <a:gd name="T61" fmla="*/ 537 h 644"/>
              <a:gd name="T62" fmla="*/ 429 w 859"/>
              <a:gd name="T63" fmla="*/ 566 h 644"/>
              <a:gd name="T64" fmla="*/ 515 w 859"/>
              <a:gd name="T65" fmla="*/ 537 h 644"/>
              <a:gd name="T66" fmla="*/ 752 w 859"/>
              <a:gd name="T67" fmla="*/ 537 h 644"/>
              <a:gd name="T68" fmla="*/ 71 w 859"/>
              <a:gd name="T69" fmla="*/ 573 h 644"/>
              <a:gd name="T70" fmla="*/ 71 w 859"/>
              <a:gd name="T71" fmla="*/ 107 h 644"/>
              <a:gd name="T72" fmla="*/ 0 w 859"/>
              <a:gd name="T73" fmla="*/ 107 h 644"/>
              <a:gd name="T74" fmla="*/ 0 w 859"/>
              <a:gd name="T75" fmla="*/ 644 h 644"/>
              <a:gd name="T76" fmla="*/ 394 w 859"/>
              <a:gd name="T77" fmla="*/ 644 h 644"/>
              <a:gd name="T78" fmla="*/ 322 w 859"/>
              <a:gd name="T79" fmla="*/ 573 h 644"/>
              <a:gd name="T80" fmla="*/ 71 w 859"/>
              <a:gd name="T81" fmla="*/ 573 h 6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59" h="644">
                <a:moveTo>
                  <a:pt x="787" y="107"/>
                </a:moveTo>
                <a:lnTo>
                  <a:pt x="787" y="573"/>
                </a:lnTo>
                <a:lnTo>
                  <a:pt x="537" y="573"/>
                </a:lnTo>
                <a:lnTo>
                  <a:pt x="465" y="644"/>
                </a:lnTo>
                <a:lnTo>
                  <a:pt x="859" y="644"/>
                </a:lnTo>
                <a:lnTo>
                  <a:pt x="859" y="107"/>
                </a:lnTo>
                <a:lnTo>
                  <a:pt x="787" y="107"/>
                </a:lnTo>
                <a:close/>
                <a:moveTo>
                  <a:pt x="476" y="476"/>
                </a:moveTo>
                <a:cubicBezTo>
                  <a:pt x="450" y="501"/>
                  <a:pt x="409" y="501"/>
                  <a:pt x="383" y="476"/>
                </a:cubicBezTo>
                <a:lnTo>
                  <a:pt x="373" y="465"/>
                </a:lnTo>
                <a:lnTo>
                  <a:pt x="179" y="465"/>
                </a:lnTo>
                <a:lnTo>
                  <a:pt x="179" y="71"/>
                </a:lnTo>
                <a:lnTo>
                  <a:pt x="344" y="71"/>
                </a:lnTo>
                <a:cubicBezTo>
                  <a:pt x="359" y="71"/>
                  <a:pt x="393" y="91"/>
                  <a:pt x="393" y="96"/>
                </a:cubicBezTo>
                <a:lnTo>
                  <a:pt x="393" y="358"/>
                </a:lnTo>
                <a:lnTo>
                  <a:pt x="465" y="358"/>
                </a:lnTo>
                <a:lnTo>
                  <a:pt x="465" y="96"/>
                </a:lnTo>
                <a:cubicBezTo>
                  <a:pt x="465" y="91"/>
                  <a:pt x="500" y="71"/>
                  <a:pt x="515" y="71"/>
                </a:cubicBezTo>
                <a:lnTo>
                  <a:pt x="680" y="71"/>
                </a:lnTo>
                <a:lnTo>
                  <a:pt x="680" y="465"/>
                </a:lnTo>
                <a:lnTo>
                  <a:pt x="486" y="465"/>
                </a:lnTo>
                <a:lnTo>
                  <a:pt x="476" y="476"/>
                </a:lnTo>
                <a:close/>
                <a:moveTo>
                  <a:pt x="752" y="537"/>
                </a:moveTo>
                <a:lnTo>
                  <a:pt x="752" y="0"/>
                </a:lnTo>
                <a:lnTo>
                  <a:pt x="486" y="0"/>
                </a:lnTo>
                <a:lnTo>
                  <a:pt x="476" y="10"/>
                </a:lnTo>
                <a:cubicBezTo>
                  <a:pt x="450" y="36"/>
                  <a:pt x="409" y="36"/>
                  <a:pt x="383" y="10"/>
                </a:cubicBezTo>
                <a:lnTo>
                  <a:pt x="373" y="0"/>
                </a:lnTo>
                <a:lnTo>
                  <a:pt x="107" y="0"/>
                </a:lnTo>
                <a:lnTo>
                  <a:pt x="107" y="537"/>
                </a:lnTo>
                <a:lnTo>
                  <a:pt x="344" y="537"/>
                </a:lnTo>
                <a:cubicBezTo>
                  <a:pt x="369" y="573"/>
                  <a:pt x="399" y="566"/>
                  <a:pt x="429" y="566"/>
                </a:cubicBezTo>
                <a:cubicBezTo>
                  <a:pt x="460" y="566"/>
                  <a:pt x="490" y="573"/>
                  <a:pt x="515" y="537"/>
                </a:cubicBezTo>
                <a:lnTo>
                  <a:pt x="752" y="537"/>
                </a:lnTo>
                <a:close/>
                <a:moveTo>
                  <a:pt x="71" y="573"/>
                </a:moveTo>
                <a:lnTo>
                  <a:pt x="71" y="107"/>
                </a:lnTo>
                <a:lnTo>
                  <a:pt x="0" y="107"/>
                </a:lnTo>
                <a:lnTo>
                  <a:pt x="0" y="644"/>
                </a:lnTo>
                <a:lnTo>
                  <a:pt x="394" y="644"/>
                </a:lnTo>
                <a:lnTo>
                  <a:pt x="322" y="573"/>
                </a:lnTo>
                <a:lnTo>
                  <a:pt x="71" y="57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5" name="Freeform 33"/>
          <p:cNvSpPr>
            <a:spLocks noEditPoints="1"/>
          </p:cNvSpPr>
          <p:nvPr/>
        </p:nvSpPr>
        <p:spPr bwMode="auto">
          <a:xfrm>
            <a:off x="8017892" y="610323"/>
            <a:ext cx="591581" cy="543275"/>
          </a:xfrm>
          <a:custGeom>
            <a:avLst/>
            <a:gdLst>
              <a:gd name="T0" fmla="*/ 143 w 859"/>
              <a:gd name="T1" fmla="*/ 645 h 788"/>
              <a:gd name="T2" fmla="*/ 143 w 859"/>
              <a:gd name="T3" fmla="*/ 430 h 788"/>
              <a:gd name="T4" fmla="*/ 716 w 859"/>
              <a:gd name="T5" fmla="*/ 430 h 788"/>
              <a:gd name="T6" fmla="*/ 716 w 859"/>
              <a:gd name="T7" fmla="*/ 645 h 788"/>
              <a:gd name="T8" fmla="*/ 143 w 859"/>
              <a:gd name="T9" fmla="*/ 645 h 788"/>
              <a:gd name="T10" fmla="*/ 179 w 859"/>
              <a:gd name="T11" fmla="*/ 72 h 788"/>
              <a:gd name="T12" fmla="*/ 680 w 859"/>
              <a:gd name="T13" fmla="*/ 72 h 788"/>
              <a:gd name="T14" fmla="*/ 716 w 859"/>
              <a:gd name="T15" fmla="*/ 108 h 788"/>
              <a:gd name="T16" fmla="*/ 716 w 859"/>
              <a:gd name="T17" fmla="*/ 358 h 788"/>
              <a:gd name="T18" fmla="*/ 465 w 859"/>
              <a:gd name="T19" fmla="*/ 358 h 788"/>
              <a:gd name="T20" fmla="*/ 465 w 859"/>
              <a:gd name="T21" fmla="*/ 108 h 788"/>
              <a:gd name="T22" fmla="*/ 393 w 859"/>
              <a:gd name="T23" fmla="*/ 108 h 788"/>
              <a:gd name="T24" fmla="*/ 393 w 859"/>
              <a:gd name="T25" fmla="*/ 358 h 788"/>
              <a:gd name="T26" fmla="*/ 143 w 859"/>
              <a:gd name="T27" fmla="*/ 358 h 788"/>
              <a:gd name="T28" fmla="*/ 143 w 859"/>
              <a:gd name="T29" fmla="*/ 108 h 788"/>
              <a:gd name="T30" fmla="*/ 179 w 859"/>
              <a:gd name="T31" fmla="*/ 72 h 788"/>
              <a:gd name="T32" fmla="*/ 787 w 859"/>
              <a:gd name="T33" fmla="*/ 179 h 788"/>
              <a:gd name="T34" fmla="*/ 787 w 859"/>
              <a:gd name="T35" fmla="*/ 108 h 788"/>
              <a:gd name="T36" fmla="*/ 680 w 859"/>
              <a:gd name="T37" fmla="*/ 0 h 788"/>
              <a:gd name="T38" fmla="*/ 179 w 859"/>
              <a:gd name="T39" fmla="*/ 0 h 788"/>
              <a:gd name="T40" fmla="*/ 71 w 859"/>
              <a:gd name="T41" fmla="*/ 108 h 788"/>
              <a:gd name="T42" fmla="*/ 71 w 859"/>
              <a:gd name="T43" fmla="*/ 179 h 788"/>
              <a:gd name="T44" fmla="*/ 0 w 859"/>
              <a:gd name="T45" fmla="*/ 179 h 788"/>
              <a:gd name="T46" fmla="*/ 0 w 859"/>
              <a:gd name="T47" fmla="*/ 358 h 788"/>
              <a:gd name="T48" fmla="*/ 71 w 859"/>
              <a:gd name="T49" fmla="*/ 358 h 788"/>
              <a:gd name="T50" fmla="*/ 71 w 859"/>
              <a:gd name="T51" fmla="*/ 716 h 788"/>
              <a:gd name="T52" fmla="*/ 143 w 859"/>
              <a:gd name="T53" fmla="*/ 716 h 788"/>
              <a:gd name="T54" fmla="*/ 143 w 859"/>
              <a:gd name="T55" fmla="*/ 788 h 788"/>
              <a:gd name="T56" fmla="*/ 214 w 859"/>
              <a:gd name="T57" fmla="*/ 788 h 788"/>
              <a:gd name="T58" fmla="*/ 214 w 859"/>
              <a:gd name="T59" fmla="*/ 716 h 788"/>
              <a:gd name="T60" fmla="*/ 644 w 859"/>
              <a:gd name="T61" fmla="*/ 716 h 788"/>
              <a:gd name="T62" fmla="*/ 644 w 859"/>
              <a:gd name="T63" fmla="*/ 788 h 788"/>
              <a:gd name="T64" fmla="*/ 716 w 859"/>
              <a:gd name="T65" fmla="*/ 788 h 788"/>
              <a:gd name="T66" fmla="*/ 716 w 859"/>
              <a:gd name="T67" fmla="*/ 716 h 788"/>
              <a:gd name="T68" fmla="*/ 787 w 859"/>
              <a:gd name="T69" fmla="*/ 716 h 788"/>
              <a:gd name="T70" fmla="*/ 787 w 859"/>
              <a:gd name="T71" fmla="*/ 358 h 788"/>
              <a:gd name="T72" fmla="*/ 859 w 859"/>
              <a:gd name="T73" fmla="*/ 358 h 788"/>
              <a:gd name="T74" fmla="*/ 859 w 859"/>
              <a:gd name="T75" fmla="*/ 179 h 788"/>
              <a:gd name="T76" fmla="*/ 787 w 859"/>
              <a:gd name="T77" fmla="*/ 179 h 7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859" h="788">
                <a:moveTo>
                  <a:pt x="143" y="645"/>
                </a:moveTo>
                <a:lnTo>
                  <a:pt x="143" y="430"/>
                </a:lnTo>
                <a:lnTo>
                  <a:pt x="716" y="430"/>
                </a:lnTo>
                <a:lnTo>
                  <a:pt x="716" y="645"/>
                </a:lnTo>
                <a:lnTo>
                  <a:pt x="143" y="645"/>
                </a:lnTo>
                <a:close/>
                <a:moveTo>
                  <a:pt x="179" y="72"/>
                </a:moveTo>
                <a:lnTo>
                  <a:pt x="680" y="72"/>
                </a:lnTo>
                <a:cubicBezTo>
                  <a:pt x="700" y="72"/>
                  <a:pt x="716" y="88"/>
                  <a:pt x="716" y="108"/>
                </a:cubicBezTo>
                <a:lnTo>
                  <a:pt x="716" y="358"/>
                </a:lnTo>
                <a:lnTo>
                  <a:pt x="465" y="358"/>
                </a:lnTo>
                <a:lnTo>
                  <a:pt x="465" y="108"/>
                </a:lnTo>
                <a:lnTo>
                  <a:pt x="393" y="108"/>
                </a:lnTo>
                <a:lnTo>
                  <a:pt x="393" y="358"/>
                </a:lnTo>
                <a:lnTo>
                  <a:pt x="143" y="358"/>
                </a:lnTo>
                <a:lnTo>
                  <a:pt x="143" y="108"/>
                </a:lnTo>
                <a:cubicBezTo>
                  <a:pt x="143" y="88"/>
                  <a:pt x="159" y="72"/>
                  <a:pt x="179" y="72"/>
                </a:cubicBezTo>
                <a:close/>
                <a:moveTo>
                  <a:pt x="787" y="179"/>
                </a:moveTo>
                <a:lnTo>
                  <a:pt x="787" y="108"/>
                </a:lnTo>
                <a:cubicBezTo>
                  <a:pt x="787" y="48"/>
                  <a:pt x="739" y="0"/>
                  <a:pt x="680" y="0"/>
                </a:cubicBezTo>
                <a:lnTo>
                  <a:pt x="179" y="0"/>
                </a:lnTo>
                <a:cubicBezTo>
                  <a:pt x="120" y="0"/>
                  <a:pt x="71" y="48"/>
                  <a:pt x="71" y="108"/>
                </a:cubicBezTo>
                <a:lnTo>
                  <a:pt x="71" y="179"/>
                </a:lnTo>
                <a:lnTo>
                  <a:pt x="0" y="179"/>
                </a:lnTo>
                <a:lnTo>
                  <a:pt x="0" y="358"/>
                </a:lnTo>
                <a:lnTo>
                  <a:pt x="71" y="358"/>
                </a:lnTo>
                <a:lnTo>
                  <a:pt x="71" y="716"/>
                </a:lnTo>
                <a:lnTo>
                  <a:pt x="143" y="716"/>
                </a:lnTo>
                <a:lnTo>
                  <a:pt x="143" y="788"/>
                </a:lnTo>
                <a:lnTo>
                  <a:pt x="214" y="788"/>
                </a:lnTo>
                <a:lnTo>
                  <a:pt x="214" y="716"/>
                </a:lnTo>
                <a:lnTo>
                  <a:pt x="644" y="716"/>
                </a:lnTo>
                <a:lnTo>
                  <a:pt x="644" y="788"/>
                </a:lnTo>
                <a:lnTo>
                  <a:pt x="716" y="788"/>
                </a:lnTo>
                <a:lnTo>
                  <a:pt x="716" y="716"/>
                </a:lnTo>
                <a:lnTo>
                  <a:pt x="787" y="716"/>
                </a:lnTo>
                <a:lnTo>
                  <a:pt x="787" y="358"/>
                </a:lnTo>
                <a:lnTo>
                  <a:pt x="859" y="358"/>
                </a:lnTo>
                <a:lnTo>
                  <a:pt x="859" y="179"/>
                </a:lnTo>
                <a:lnTo>
                  <a:pt x="787" y="17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6" name="Rectangle 34"/>
          <p:cNvSpPr>
            <a:spLocks noChangeArrowheads="1"/>
          </p:cNvSpPr>
          <p:nvPr/>
        </p:nvSpPr>
        <p:spPr bwMode="auto">
          <a:xfrm>
            <a:off x="8141012" y="961576"/>
            <a:ext cx="123120" cy="5102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7" name="Rectangle 35"/>
          <p:cNvSpPr>
            <a:spLocks noChangeArrowheads="1"/>
          </p:cNvSpPr>
          <p:nvPr/>
        </p:nvSpPr>
        <p:spPr bwMode="auto">
          <a:xfrm>
            <a:off x="8363231" y="961576"/>
            <a:ext cx="123120" cy="5102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8" name="Rectangle 36"/>
          <p:cNvSpPr>
            <a:spLocks noChangeArrowheads="1"/>
          </p:cNvSpPr>
          <p:nvPr/>
        </p:nvSpPr>
        <p:spPr bwMode="auto">
          <a:xfrm>
            <a:off x="2279241" y="647860"/>
            <a:ext cx="246243" cy="480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9" name="Freeform 37"/>
          <p:cNvSpPr>
            <a:spLocks noEditPoints="1"/>
          </p:cNvSpPr>
          <p:nvPr/>
        </p:nvSpPr>
        <p:spPr bwMode="auto">
          <a:xfrm>
            <a:off x="2177142" y="560563"/>
            <a:ext cx="447441" cy="519263"/>
          </a:xfrm>
          <a:custGeom>
            <a:avLst/>
            <a:gdLst>
              <a:gd name="T0" fmla="*/ 212 w 651"/>
              <a:gd name="T1" fmla="*/ 446 h 752"/>
              <a:gd name="T2" fmla="*/ 281 w 651"/>
              <a:gd name="T3" fmla="*/ 680 h 752"/>
              <a:gd name="T4" fmla="*/ 290 w 651"/>
              <a:gd name="T5" fmla="*/ 680 h 752"/>
              <a:gd name="T6" fmla="*/ 290 w 651"/>
              <a:gd name="T7" fmla="*/ 348 h 752"/>
              <a:gd name="T8" fmla="*/ 254 w 651"/>
              <a:gd name="T9" fmla="*/ 286 h 752"/>
              <a:gd name="T10" fmla="*/ 326 w 651"/>
              <a:gd name="T11" fmla="*/ 215 h 752"/>
              <a:gd name="T12" fmla="*/ 397 w 651"/>
              <a:gd name="T13" fmla="*/ 286 h 752"/>
              <a:gd name="T14" fmla="*/ 362 w 651"/>
              <a:gd name="T15" fmla="*/ 348 h 752"/>
              <a:gd name="T16" fmla="*/ 362 w 651"/>
              <a:gd name="T17" fmla="*/ 680 h 752"/>
              <a:gd name="T18" fmla="*/ 370 w 651"/>
              <a:gd name="T19" fmla="*/ 680 h 752"/>
              <a:gd name="T20" fmla="*/ 435 w 651"/>
              <a:gd name="T21" fmla="*/ 456 h 752"/>
              <a:gd name="T22" fmla="*/ 573 w 651"/>
              <a:gd name="T23" fmla="*/ 245 h 752"/>
              <a:gd name="T24" fmla="*/ 326 w 651"/>
              <a:gd name="T25" fmla="*/ 72 h 752"/>
              <a:gd name="T26" fmla="*/ 79 w 651"/>
              <a:gd name="T27" fmla="*/ 245 h 752"/>
              <a:gd name="T28" fmla="*/ 212 w 651"/>
              <a:gd name="T29" fmla="*/ 446 h 752"/>
              <a:gd name="T30" fmla="*/ 5 w 651"/>
              <a:gd name="T31" fmla="*/ 241 h 752"/>
              <a:gd name="T32" fmla="*/ 326 w 651"/>
              <a:gd name="T33" fmla="*/ 0 h 752"/>
              <a:gd name="T34" fmla="*/ 647 w 651"/>
              <a:gd name="T35" fmla="*/ 241 h 752"/>
              <a:gd name="T36" fmla="*/ 651 w 651"/>
              <a:gd name="T37" fmla="*/ 257 h 752"/>
              <a:gd name="T38" fmla="*/ 502 w 651"/>
              <a:gd name="T39" fmla="*/ 481 h 752"/>
              <a:gd name="T40" fmla="*/ 424 w 651"/>
              <a:gd name="T41" fmla="*/ 752 h 752"/>
              <a:gd name="T42" fmla="*/ 227 w 651"/>
              <a:gd name="T43" fmla="*/ 752 h 752"/>
              <a:gd name="T44" fmla="*/ 150 w 651"/>
              <a:gd name="T45" fmla="*/ 481 h 752"/>
              <a:gd name="T46" fmla="*/ 0 w 651"/>
              <a:gd name="T47" fmla="*/ 257 h 752"/>
              <a:gd name="T48" fmla="*/ 5 w 651"/>
              <a:gd name="T49" fmla="*/ 24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651" h="752">
                <a:moveTo>
                  <a:pt x="212" y="446"/>
                </a:moveTo>
                <a:lnTo>
                  <a:pt x="281" y="680"/>
                </a:lnTo>
                <a:lnTo>
                  <a:pt x="290" y="680"/>
                </a:lnTo>
                <a:lnTo>
                  <a:pt x="290" y="348"/>
                </a:lnTo>
                <a:cubicBezTo>
                  <a:pt x="254" y="336"/>
                  <a:pt x="254" y="313"/>
                  <a:pt x="254" y="286"/>
                </a:cubicBezTo>
                <a:cubicBezTo>
                  <a:pt x="254" y="247"/>
                  <a:pt x="286" y="215"/>
                  <a:pt x="326" y="215"/>
                </a:cubicBezTo>
                <a:cubicBezTo>
                  <a:pt x="365" y="215"/>
                  <a:pt x="397" y="247"/>
                  <a:pt x="397" y="286"/>
                </a:cubicBezTo>
                <a:cubicBezTo>
                  <a:pt x="397" y="313"/>
                  <a:pt x="398" y="336"/>
                  <a:pt x="362" y="348"/>
                </a:cubicBezTo>
                <a:lnTo>
                  <a:pt x="362" y="680"/>
                </a:lnTo>
                <a:lnTo>
                  <a:pt x="370" y="680"/>
                </a:lnTo>
                <a:lnTo>
                  <a:pt x="435" y="456"/>
                </a:lnTo>
                <a:lnTo>
                  <a:pt x="573" y="245"/>
                </a:lnTo>
                <a:cubicBezTo>
                  <a:pt x="536" y="142"/>
                  <a:pt x="436" y="72"/>
                  <a:pt x="326" y="72"/>
                </a:cubicBezTo>
                <a:cubicBezTo>
                  <a:pt x="215" y="72"/>
                  <a:pt x="116" y="142"/>
                  <a:pt x="79" y="245"/>
                </a:cubicBezTo>
                <a:lnTo>
                  <a:pt x="212" y="446"/>
                </a:lnTo>
                <a:close/>
                <a:moveTo>
                  <a:pt x="5" y="241"/>
                </a:moveTo>
                <a:cubicBezTo>
                  <a:pt x="46" y="99"/>
                  <a:pt x="178" y="0"/>
                  <a:pt x="326" y="0"/>
                </a:cubicBezTo>
                <a:cubicBezTo>
                  <a:pt x="473" y="0"/>
                  <a:pt x="605" y="99"/>
                  <a:pt x="647" y="241"/>
                </a:cubicBezTo>
                <a:lnTo>
                  <a:pt x="651" y="257"/>
                </a:lnTo>
                <a:lnTo>
                  <a:pt x="502" y="481"/>
                </a:lnTo>
                <a:lnTo>
                  <a:pt x="424" y="752"/>
                </a:lnTo>
                <a:lnTo>
                  <a:pt x="227" y="752"/>
                </a:lnTo>
                <a:lnTo>
                  <a:pt x="150" y="481"/>
                </a:lnTo>
                <a:lnTo>
                  <a:pt x="0" y="257"/>
                </a:lnTo>
                <a:lnTo>
                  <a:pt x="5" y="24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0" name="Freeform 38"/>
          <p:cNvSpPr>
            <a:spLocks noEditPoints="1"/>
          </p:cNvSpPr>
          <p:nvPr/>
        </p:nvSpPr>
        <p:spPr bwMode="auto">
          <a:xfrm>
            <a:off x="11074901" y="1789685"/>
            <a:ext cx="384377" cy="576291"/>
          </a:xfrm>
          <a:custGeom>
            <a:avLst/>
            <a:gdLst>
              <a:gd name="T0" fmla="*/ 315 w 559"/>
              <a:gd name="T1" fmla="*/ 314 h 838"/>
              <a:gd name="T2" fmla="*/ 384 w 559"/>
              <a:gd name="T3" fmla="*/ 314 h 838"/>
              <a:gd name="T4" fmla="*/ 384 w 559"/>
              <a:gd name="T5" fmla="*/ 244 h 838"/>
              <a:gd name="T6" fmla="*/ 315 w 559"/>
              <a:gd name="T7" fmla="*/ 244 h 838"/>
              <a:gd name="T8" fmla="*/ 315 w 559"/>
              <a:gd name="T9" fmla="*/ 314 h 838"/>
              <a:gd name="T10" fmla="*/ 175 w 559"/>
              <a:gd name="T11" fmla="*/ 314 h 838"/>
              <a:gd name="T12" fmla="*/ 245 w 559"/>
              <a:gd name="T13" fmla="*/ 314 h 838"/>
              <a:gd name="T14" fmla="*/ 245 w 559"/>
              <a:gd name="T15" fmla="*/ 244 h 838"/>
              <a:gd name="T16" fmla="*/ 175 w 559"/>
              <a:gd name="T17" fmla="*/ 244 h 838"/>
              <a:gd name="T18" fmla="*/ 175 w 559"/>
              <a:gd name="T19" fmla="*/ 314 h 838"/>
              <a:gd name="T20" fmla="*/ 175 w 559"/>
              <a:gd name="T21" fmla="*/ 524 h 838"/>
              <a:gd name="T22" fmla="*/ 105 w 559"/>
              <a:gd name="T23" fmla="*/ 524 h 838"/>
              <a:gd name="T24" fmla="*/ 314 w 559"/>
              <a:gd name="T25" fmla="*/ 733 h 838"/>
              <a:gd name="T26" fmla="*/ 314 w 559"/>
              <a:gd name="T27" fmla="*/ 663 h 838"/>
              <a:gd name="T28" fmla="*/ 175 w 559"/>
              <a:gd name="T29" fmla="*/ 524 h 838"/>
              <a:gd name="T30" fmla="*/ 349 w 559"/>
              <a:gd name="T31" fmla="*/ 349 h 838"/>
              <a:gd name="T32" fmla="*/ 210 w 559"/>
              <a:gd name="T33" fmla="*/ 349 h 838"/>
              <a:gd name="T34" fmla="*/ 140 w 559"/>
              <a:gd name="T35" fmla="*/ 279 h 838"/>
              <a:gd name="T36" fmla="*/ 210 w 559"/>
              <a:gd name="T37" fmla="*/ 209 h 838"/>
              <a:gd name="T38" fmla="*/ 256 w 559"/>
              <a:gd name="T39" fmla="*/ 228 h 838"/>
              <a:gd name="T40" fmla="*/ 280 w 559"/>
              <a:gd name="T41" fmla="*/ 249 h 838"/>
              <a:gd name="T42" fmla="*/ 303 w 559"/>
              <a:gd name="T43" fmla="*/ 228 h 838"/>
              <a:gd name="T44" fmla="*/ 349 w 559"/>
              <a:gd name="T45" fmla="*/ 209 h 838"/>
              <a:gd name="T46" fmla="*/ 419 w 559"/>
              <a:gd name="T47" fmla="*/ 279 h 838"/>
              <a:gd name="T48" fmla="*/ 349 w 559"/>
              <a:gd name="T49" fmla="*/ 349 h 838"/>
              <a:gd name="T50" fmla="*/ 349 w 559"/>
              <a:gd name="T51" fmla="*/ 140 h 838"/>
              <a:gd name="T52" fmla="*/ 280 w 559"/>
              <a:gd name="T53" fmla="*/ 159 h 838"/>
              <a:gd name="T54" fmla="*/ 210 w 559"/>
              <a:gd name="T55" fmla="*/ 140 h 838"/>
              <a:gd name="T56" fmla="*/ 70 w 559"/>
              <a:gd name="T57" fmla="*/ 279 h 838"/>
              <a:gd name="T58" fmla="*/ 210 w 559"/>
              <a:gd name="T59" fmla="*/ 419 h 838"/>
              <a:gd name="T60" fmla="*/ 245 w 559"/>
              <a:gd name="T61" fmla="*/ 419 h 838"/>
              <a:gd name="T62" fmla="*/ 245 w 559"/>
              <a:gd name="T63" fmla="*/ 454 h 838"/>
              <a:gd name="T64" fmla="*/ 314 w 559"/>
              <a:gd name="T65" fmla="*/ 454 h 838"/>
              <a:gd name="T66" fmla="*/ 314 w 559"/>
              <a:gd name="T67" fmla="*/ 419 h 838"/>
              <a:gd name="T68" fmla="*/ 349 w 559"/>
              <a:gd name="T69" fmla="*/ 419 h 838"/>
              <a:gd name="T70" fmla="*/ 489 w 559"/>
              <a:gd name="T71" fmla="*/ 279 h 838"/>
              <a:gd name="T72" fmla="*/ 349 w 559"/>
              <a:gd name="T73" fmla="*/ 140 h 838"/>
              <a:gd name="T74" fmla="*/ 489 w 559"/>
              <a:gd name="T75" fmla="*/ 768 h 838"/>
              <a:gd name="T76" fmla="*/ 317 w 559"/>
              <a:gd name="T77" fmla="*/ 768 h 838"/>
              <a:gd name="T78" fmla="*/ 70 w 559"/>
              <a:gd name="T79" fmla="*/ 522 h 838"/>
              <a:gd name="T80" fmla="*/ 70 w 559"/>
              <a:gd name="T81" fmla="*/ 279 h 838"/>
              <a:gd name="T82" fmla="*/ 279 w 559"/>
              <a:gd name="T83" fmla="*/ 70 h 838"/>
              <a:gd name="T84" fmla="*/ 489 w 559"/>
              <a:gd name="T85" fmla="*/ 279 h 838"/>
              <a:gd name="T86" fmla="*/ 489 w 559"/>
              <a:gd name="T87" fmla="*/ 768 h 838"/>
              <a:gd name="T88" fmla="*/ 279 w 559"/>
              <a:gd name="T89" fmla="*/ 0 h 838"/>
              <a:gd name="T90" fmla="*/ 0 w 559"/>
              <a:gd name="T91" fmla="*/ 279 h 838"/>
              <a:gd name="T92" fmla="*/ 0 w 559"/>
              <a:gd name="T93" fmla="*/ 522 h 838"/>
              <a:gd name="T94" fmla="*/ 317 w 559"/>
              <a:gd name="T95" fmla="*/ 838 h 838"/>
              <a:gd name="T96" fmla="*/ 559 w 559"/>
              <a:gd name="T97" fmla="*/ 838 h 838"/>
              <a:gd name="T98" fmla="*/ 559 w 559"/>
              <a:gd name="T99" fmla="*/ 279 h 838"/>
              <a:gd name="T100" fmla="*/ 279 w 559"/>
              <a:gd name="T101" fmla="*/ 0 h 8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59" h="838">
                <a:moveTo>
                  <a:pt x="315" y="314"/>
                </a:moveTo>
                <a:lnTo>
                  <a:pt x="384" y="314"/>
                </a:lnTo>
                <a:lnTo>
                  <a:pt x="384" y="244"/>
                </a:lnTo>
                <a:lnTo>
                  <a:pt x="315" y="244"/>
                </a:lnTo>
                <a:lnTo>
                  <a:pt x="315" y="314"/>
                </a:lnTo>
                <a:close/>
                <a:moveTo>
                  <a:pt x="175" y="314"/>
                </a:moveTo>
                <a:lnTo>
                  <a:pt x="245" y="314"/>
                </a:lnTo>
                <a:lnTo>
                  <a:pt x="245" y="244"/>
                </a:lnTo>
                <a:lnTo>
                  <a:pt x="175" y="244"/>
                </a:lnTo>
                <a:lnTo>
                  <a:pt x="175" y="314"/>
                </a:lnTo>
                <a:close/>
                <a:moveTo>
                  <a:pt x="175" y="524"/>
                </a:moveTo>
                <a:lnTo>
                  <a:pt x="105" y="524"/>
                </a:lnTo>
                <a:cubicBezTo>
                  <a:pt x="105" y="628"/>
                  <a:pt x="210" y="733"/>
                  <a:pt x="314" y="733"/>
                </a:cubicBezTo>
                <a:lnTo>
                  <a:pt x="314" y="663"/>
                </a:lnTo>
                <a:cubicBezTo>
                  <a:pt x="245" y="663"/>
                  <a:pt x="175" y="594"/>
                  <a:pt x="175" y="524"/>
                </a:cubicBezTo>
                <a:close/>
                <a:moveTo>
                  <a:pt x="349" y="349"/>
                </a:moveTo>
                <a:lnTo>
                  <a:pt x="210" y="349"/>
                </a:lnTo>
                <a:cubicBezTo>
                  <a:pt x="171" y="349"/>
                  <a:pt x="140" y="318"/>
                  <a:pt x="140" y="279"/>
                </a:cubicBezTo>
                <a:cubicBezTo>
                  <a:pt x="140" y="241"/>
                  <a:pt x="171" y="209"/>
                  <a:pt x="210" y="209"/>
                </a:cubicBezTo>
                <a:cubicBezTo>
                  <a:pt x="227" y="209"/>
                  <a:pt x="243" y="216"/>
                  <a:pt x="256" y="228"/>
                </a:cubicBezTo>
                <a:lnTo>
                  <a:pt x="280" y="249"/>
                </a:lnTo>
                <a:lnTo>
                  <a:pt x="303" y="228"/>
                </a:lnTo>
                <a:cubicBezTo>
                  <a:pt x="316" y="216"/>
                  <a:pt x="332" y="209"/>
                  <a:pt x="349" y="209"/>
                </a:cubicBezTo>
                <a:cubicBezTo>
                  <a:pt x="388" y="209"/>
                  <a:pt x="419" y="241"/>
                  <a:pt x="419" y="279"/>
                </a:cubicBezTo>
                <a:cubicBezTo>
                  <a:pt x="419" y="318"/>
                  <a:pt x="388" y="349"/>
                  <a:pt x="349" y="349"/>
                </a:cubicBezTo>
                <a:close/>
                <a:moveTo>
                  <a:pt x="349" y="140"/>
                </a:moveTo>
                <a:cubicBezTo>
                  <a:pt x="325" y="140"/>
                  <a:pt x="301" y="146"/>
                  <a:pt x="280" y="159"/>
                </a:cubicBezTo>
                <a:cubicBezTo>
                  <a:pt x="258" y="146"/>
                  <a:pt x="234" y="140"/>
                  <a:pt x="210" y="140"/>
                </a:cubicBezTo>
                <a:cubicBezTo>
                  <a:pt x="133" y="140"/>
                  <a:pt x="70" y="202"/>
                  <a:pt x="70" y="279"/>
                </a:cubicBezTo>
                <a:cubicBezTo>
                  <a:pt x="70" y="356"/>
                  <a:pt x="133" y="419"/>
                  <a:pt x="210" y="419"/>
                </a:cubicBezTo>
                <a:lnTo>
                  <a:pt x="245" y="419"/>
                </a:lnTo>
                <a:lnTo>
                  <a:pt x="245" y="454"/>
                </a:lnTo>
                <a:lnTo>
                  <a:pt x="314" y="454"/>
                </a:lnTo>
                <a:lnTo>
                  <a:pt x="314" y="419"/>
                </a:lnTo>
                <a:lnTo>
                  <a:pt x="349" y="419"/>
                </a:lnTo>
                <a:cubicBezTo>
                  <a:pt x="426" y="419"/>
                  <a:pt x="489" y="356"/>
                  <a:pt x="489" y="279"/>
                </a:cubicBezTo>
                <a:cubicBezTo>
                  <a:pt x="489" y="202"/>
                  <a:pt x="426" y="140"/>
                  <a:pt x="349" y="140"/>
                </a:cubicBezTo>
                <a:close/>
                <a:moveTo>
                  <a:pt x="489" y="768"/>
                </a:moveTo>
                <a:lnTo>
                  <a:pt x="317" y="768"/>
                </a:lnTo>
                <a:cubicBezTo>
                  <a:pt x="181" y="768"/>
                  <a:pt x="70" y="658"/>
                  <a:pt x="70" y="522"/>
                </a:cubicBezTo>
                <a:lnTo>
                  <a:pt x="70" y="279"/>
                </a:lnTo>
                <a:cubicBezTo>
                  <a:pt x="70" y="164"/>
                  <a:pt x="164" y="70"/>
                  <a:pt x="279" y="70"/>
                </a:cubicBezTo>
                <a:cubicBezTo>
                  <a:pt x="395" y="70"/>
                  <a:pt x="489" y="164"/>
                  <a:pt x="489" y="279"/>
                </a:cubicBezTo>
                <a:lnTo>
                  <a:pt x="489" y="768"/>
                </a:lnTo>
                <a:close/>
                <a:moveTo>
                  <a:pt x="279" y="0"/>
                </a:moveTo>
                <a:cubicBezTo>
                  <a:pt x="125" y="0"/>
                  <a:pt x="0" y="125"/>
                  <a:pt x="0" y="279"/>
                </a:cubicBezTo>
                <a:lnTo>
                  <a:pt x="0" y="522"/>
                </a:lnTo>
                <a:cubicBezTo>
                  <a:pt x="0" y="696"/>
                  <a:pt x="142" y="838"/>
                  <a:pt x="317" y="838"/>
                </a:cubicBezTo>
                <a:lnTo>
                  <a:pt x="559" y="838"/>
                </a:lnTo>
                <a:lnTo>
                  <a:pt x="559" y="279"/>
                </a:lnTo>
                <a:cubicBezTo>
                  <a:pt x="559" y="125"/>
                  <a:pt x="433" y="0"/>
                  <a:pt x="279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2" name="Freeform 40"/>
          <p:cNvSpPr>
            <a:spLocks noEditPoints="1"/>
          </p:cNvSpPr>
          <p:nvPr/>
        </p:nvSpPr>
        <p:spPr bwMode="auto">
          <a:xfrm>
            <a:off x="3585527" y="1831707"/>
            <a:ext cx="588580" cy="492248"/>
          </a:xfrm>
          <a:custGeom>
            <a:avLst/>
            <a:gdLst>
              <a:gd name="T0" fmla="*/ 716 w 859"/>
              <a:gd name="T1" fmla="*/ 0 h 716"/>
              <a:gd name="T2" fmla="*/ 143 w 859"/>
              <a:gd name="T3" fmla="*/ 0 h 716"/>
              <a:gd name="T4" fmla="*/ 0 w 859"/>
              <a:gd name="T5" fmla="*/ 143 h 716"/>
              <a:gd name="T6" fmla="*/ 143 w 859"/>
              <a:gd name="T7" fmla="*/ 286 h 716"/>
              <a:gd name="T8" fmla="*/ 286 w 859"/>
              <a:gd name="T9" fmla="*/ 143 h 716"/>
              <a:gd name="T10" fmla="*/ 215 w 859"/>
              <a:gd name="T11" fmla="*/ 143 h 716"/>
              <a:gd name="T12" fmla="*/ 143 w 859"/>
              <a:gd name="T13" fmla="*/ 215 h 716"/>
              <a:gd name="T14" fmla="*/ 72 w 859"/>
              <a:gd name="T15" fmla="*/ 143 h 716"/>
              <a:gd name="T16" fmla="*/ 143 w 859"/>
              <a:gd name="T17" fmla="*/ 72 h 716"/>
              <a:gd name="T18" fmla="*/ 716 w 859"/>
              <a:gd name="T19" fmla="*/ 72 h 716"/>
              <a:gd name="T20" fmla="*/ 788 w 859"/>
              <a:gd name="T21" fmla="*/ 143 h 716"/>
              <a:gd name="T22" fmla="*/ 716 w 859"/>
              <a:gd name="T23" fmla="*/ 215 h 716"/>
              <a:gd name="T24" fmla="*/ 645 w 859"/>
              <a:gd name="T25" fmla="*/ 143 h 716"/>
              <a:gd name="T26" fmla="*/ 573 w 859"/>
              <a:gd name="T27" fmla="*/ 143 h 716"/>
              <a:gd name="T28" fmla="*/ 716 w 859"/>
              <a:gd name="T29" fmla="*/ 286 h 716"/>
              <a:gd name="T30" fmla="*/ 859 w 859"/>
              <a:gd name="T31" fmla="*/ 143 h 716"/>
              <a:gd name="T32" fmla="*/ 716 w 859"/>
              <a:gd name="T33" fmla="*/ 0 h 716"/>
              <a:gd name="T34" fmla="*/ 394 w 859"/>
              <a:gd name="T35" fmla="*/ 143 h 716"/>
              <a:gd name="T36" fmla="*/ 394 w 859"/>
              <a:gd name="T37" fmla="*/ 573 h 716"/>
              <a:gd name="T38" fmla="*/ 465 w 859"/>
              <a:gd name="T39" fmla="*/ 573 h 716"/>
              <a:gd name="T40" fmla="*/ 465 w 859"/>
              <a:gd name="T41" fmla="*/ 143 h 716"/>
              <a:gd name="T42" fmla="*/ 394 w 859"/>
              <a:gd name="T43" fmla="*/ 143 h 716"/>
              <a:gd name="T44" fmla="*/ 537 w 859"/>
              <a:gd name="T45" fmla="*/ 262 h 716"/>
              <a:gd name="T46" fmla="*/ 537 w 859"/>
              <a:gd name="T47" fmla="*/ 573 h 716"/>
              <a:gd name="T48" fmla="*/ 609 w 859"/>
              <a:gd name="T49" fmla="*/ 573 h 716"/>
              <a:gd name="T50" fmla="*/ 609 w 859"/>
              <a:gd name="T51" fmla="*/ 329 h 716"/>
              <a:gd name="T52" fmla="*/ 537 w 859"/>
              <a:gd name="T53" fmla="*/ 262 h 716"/>
              <a:gd name="T54" fmla="*/ 250 w 859"/>
              <a:gd name="T55" fmla="*/ 329 h 716"/>
              <a:gd name="T56" fmla="*/ 250 w 859"/>
              <a:gd name="T57" fmla="*/ 573 h 716"/>
              <a:gd name="T58" fmla="*/ 322 w 859"/>
              <a:gd name="T59" fmla="*/ 573 h 716"/>
              <a:gd name="T60" fmla="*/ 322 w 859"/>
              <a:gd name="T61" fmla="*/ 262 h 716"/>
              <a:gd name="T62" fmla="*/ 250 w 859"/>
              <a:gd name="T63" fmla="*/ 329 h 716"/>
              <a:gd name="T64" fmla="*/ 143 w 859"/>
              <a:gd name="T65" fmla="*/ 716 h 716"/>
              <a:gd name="T66" fmla="*/ 716 w 859"/>
              <a:gd name="T67" fmla="*/ 716 h 716"/>
              <a:gd name="T68" fmla="*/ 716 w 859"/>
              <a:gd name="T69" fmla="*/ 645 h 716"/>
              <a:gd name="T70" fmla="*/ 143 w 859"/>
              <a:gd name="T71" fmla="*/ 645 h 716"/>
              <a:gd name="T72" fmla="*/ 143 w 859"/>
              <a:gd name="T73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59" h="716">
                <a:moveTo>
                  <a:pt x="716" y="0"/>
                </a:moveTo>
                <a:lnTo>
                  <a:pt x="143" y="0"/>
                </a:lnTo>
                <a:cubicBezTo>
                  <a:pt x="64" y="0"/>
                  <a:pt x="0" y="64"/>
                  <a:pt x="0" y="143"/>
                </a:cubicBezTo>
                <a:cubicBezTo>
                  <a:pt x="0" y="222"/>
                  <a:pt x="64" y="286"/>
                  <a:pt x="143" y="286"/>
                </a:cubicBezTo>
                <a:cubicBezTo>
                  <a:pt x="222" y="286"/>
                  <a:pt x="286" y="215"/>
                  <a:pt x="286" y="143"/>
                </a:cubicBezTo>
                <a:lnTo>
                  <a:pt x="215" y="143"/>
                </a:lnTo>
                <a:cubicBezTo>
                  <a:pt x="215" y="179"/>
                  <a:pt x="183" y="215"/>
                  <a:pt x="143" y="215"/>
                </a:cubicBezTo>
                <a:cubicBezTo>
                  <a:pt x="104" y="215"/>
                  <a:pt x="72" y="183"/>
                  <a:pt x="72" y="143"/>
                </a:cubicBezTo>
                <a:cubicBezTo>
                  <a:pt x="72" y="104"/>
                  <a:pt x="104" y="72"/>
                  <a:pt x="143" y="72"/>
                </a:cubicBezTo>
                <a:lnTo>
                  <a:pt x="716" y="72"/>
                </a:lnTo>
                <a:cubicBezTo>
                  <a:pt x="756" y="72"/>
                  <a:pt x="788" y="104"/>
                  <a:pt x="788" y="143"/>
                </a:cubicBezTo>
                <a:cubicBezTo>
                  <a:pt x="788" y="183"/>
                  <a:pt x="756" y="215"/>
                  <a:pt x="716" y="215"/>
                </a:cubicBezTo>
                <a:cubicBezTo>
                  <a:pt x="677" y="215"/>
                  <a:pt x="645" y="179"/>
                  <a:pt x="645" y="143"/>
                </a:cubicBezTo>
                <a:lnTo>
                  <a:pt x="573" y="143"/>
                </a:lnTo>
                <a:cubicBezTo>
                  <a:pt x="573" y="215"/>
                  <a:pt x="637" y="286"/>
                  <a:pt x="716" y="286"/>
                </a:cubicBezTo>
                <a:cubicBezTo>
                  <a:pt x="795" y="286"/>
                  <a:pt x="859" y="222"/>
                  <a:pt x="859" y="143"/>
                </a:cubicBezTo>
                <a:cubicBezTo>
                  <a:pt x="859" y="64"/>
                  <a:pt x="795" y="0"/>
                  <a:pt x="716" y="0"/>
                </a:cubicBezTo>
                <a:close/>
                <a:moveTo>
                  <a:pt x="394" y="143"/>
                </a:moveTo>
                <a:lnTo>
                  <a:pt x="394" y="573"/>
                </a:lnTo>
                <a:lnTo>
                  <a:pt x="465" y="573"/>
                </a:lnTo>
                <a:lnTo>
                  <a:pt x="465" y="143"/>
                </a:lnTo>
                <a:lnTo>
                  <a:pt x="394" y="143"/>
                </a:lnTo>
                <a:close/>
                <a:moveTo>
                  <a:pt x="537" y="262"/>
                </a:moveTo>
                <a:lnTo>
                  <a:pt x="537" y="573"/>
                </a:lnTo>
                <a:lnTo>
                  <a:pt x="609" y="573"/>
                </a:lnTo>
                <a:lnTo>
                  <a:pt x="609" y="329"/>
                </a:lnTo>
                <a:cubicBezTo>
                  <a:pt x="573" y="312"/>
                  <a:pt x="573" y="289"/>
                  <a:pt x="537" y="262"/>
                </a:cubicBezTo>
                <a:close/>
                <a:moveTo>
                  <a:pt x="250" y="329"/>
                </a:moveTo>
                <a:lnTo>
                  <a:pt x="250" y="573"/>
                </a:lnTo>
                <a:lnTo>
                  <a:pt x="322" y="573"/>
                </a:lnTo>
                <a:lnTo>
                  <a:pt x="322" y="262"/>
                </a:lnTo>
                <a:cubicBezTo>
                  <a:pt x="286" y="289"/>
                  <a:pt x="286" y="312"/>
                  <a:pt x="250" y="329"/>
                </a:cubicBezTo>
                <a:close/>
                <a:moveTo>
                  <a:pt x="143" y="716"/>
                </a:moveTo>
                <a:lnTo>
                  <a:pt x="716" y="716"/>
                </a:lnTo>
                <a:lnTo>
                  <a:pt x="716" y="645"/>
                </a:lnTo>
                <a:lnTo>
                  <a:pt x="143" y="645"/>
                </a:lnTo>
                <a:lnTo>
                  <a:pt x="143" y="7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3" name="Freeform 41"/>
          <p:cNvSpPr>
            <a:spLocks/>
          </p:cNvSpPr>
          <p:nvPr/>
        </p:nvSpPr>
        <p:spPr bwMode="auto">
          <a:xfrm>
            <a:off x="9471322" y="1819702"/>
            <a:ext cx="591581" cy="516260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4 h 752"/>
              <a:gd name="T8" fmla="*/ 144 w 860"/>
              <a:gd name="T9" fmla="*/ 475 h 752"/>
              <a:gd name="T10" fmla="*/ 149 w 860"/>
              <a:gd name="T11" fmla="*/ 484 h 752"/>
              <a:gd name="T12" fmla="*/ 430 w 860"/>
              <a:gd name="T13" fmla="*/ 644 h 752"/>
              <a:gd name="T14" fmla="*/ 573 w 860"/>
              <a:gd name="T15" fmla="*/ 610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5 h 752"/>
              <a:gd name="T22" fmla="*/ 215 w 860"/>
              <a:gd name="T23" fmla="*/ 376 h 752"/>
              <a:gd name="T24" fmla="*/ 430 w 860"/>
              <a:gd name="T25" fmla="*/ 501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8 h 752"/>
              <a:gd name="T32" fmla="*/ 142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5 h 752"/>
              <a:gd name="T40" fmla="*/ 454 w 860"/>
              <a:gd name="T41" fmla="*/ 204 h 752"/>
              <a:gd name="T42" fmla="*/ 391 w 860"/>
              <a:gd name="T43" fmla="*/ 247 h 752"/>
              <a:gd name="T44" fmla="*/ 390 w 860"/>
              <a:gd name="T45" fmla="*/ 249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0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4"/>
                </a:lnTo>
                <a:lnTo>
                  <a:pt x="144" y="475"/>
                </a:lnTo>
                <a:lnTo>
                  <a:pt x="149" y="484"/>
                </a:lnTo>
                <a:cubicBezTo>
                  <a:pt x="207" y="583"/>
                  <a:pt x="315" y="644"/>
                  <a:pt x="430" y="644"/>
                </a:cubicBezTo>
                <a:cubicBezTo>
                  <a:pt x="480" y="644"/>
                  <a:pt x="529" y="632"/>
                  <a:pt x="573" y="610"/>
                </a:cubicBezTo>
                <a:lnTo>
                  <a:pt x="573" y="528"/>
                </a:lnTo>
                <a:cubicBezTo>
                  <a:pt x="532" y="556"/>
                  <a:pt x="482" y="573"/>
                  <a:pt x="430" y="573"/>
                </a:cubicBezTo>
                <a:cubicBezTo>
                  <a:pt x="343" y="573"/>
                  <a:pt x="262" y="528"/>
                  <a:pt x="215" y="455"/>
                </a:cubicBezTo>
                <a:lnTo>
                  <a:pt x="215" y="376"/>
                </a:lnTo>
                <a:lnTo>
                  <a:pt x="430" y="501"/>
                </a:lnTo>
                <a:lnTo>
                  <a:pt x="553" y="430"/>
                </a:lnTo>
                <a:lnTo>
                  <a:pt x="483" y="388"/>
                </a:lnTo>
                <a:lnTo>
                  <a:pt x="430" y="418"/>
                </a:lnTo>
                <a:lnTo>
                  <a:pt x="142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5"/>
                </a:lnTo>
                <a:lnTo>
                  <a:pt x="454" y="204"/>
                </a:lnTo>
                <a:lnTo>
                  <a:pt x="391" y="247"/>
                </a:lnTo>
                <a:lnTo>
                  <a:pt x="390" y="249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0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grpSp>
        <p:nvGrpSpPr>
          <p:cNvPr id="97" name="Группа 96"/>
          <p:cNvGrpSpPr/>
          <p:nvPr/>
        </p:nvGrpSpPr>
        <p:grpSpPr>
          <a:xfrm>
            <a:off x="9501352" y="538285"/>
            <a:ext cx="546537" cy="591303"/>
            <a:chOff x="477468" y="2705515"/>
            <a:chExt cx="409903" cy="443477"/>
          </a:xfrm>
        </p:grpSpPr>
        <p:sp>
          <p:nvSpPr>
            <p:cNvPr id="64" name="Freeform 42"/>
            <p:cNvSpPr>
              <a:spLocks noEditPoints="1"/>
            </p:cNvSpPr>
            <p:nvPr/>
          </p:nvSpPr>
          <p:spPr bwMode="auto">
            <a:xfrm>
              <a:off x="477468" y="2705515"/>
              <a:ext cx="409903" cy="387195"/>
            </a:xfrm>
            <a:custGeom>
              <a:avLst/>
              <a:gdLst>
                <a:gd name="T0" fmla="*/ 218 w 793"/>
                <a:gd name="T1" fmla="*/ 575 h 751"/>
                <a:gd name="T2" fmla="*/ 194 w 793"/>
                <a:gd name="T3" fmla="*/ 95 h 751"/>
                <a:gd name="T4" fmla="*/ 219 w 793"/>
                <a:gd name="T5" fmla="*/ 121 h 751"/>
                <a:gd name="T6" fmla="*/ 149 w 793"/>
                <a:gd name="T7" fmla="*/ 322 h 751"/>
                <a:gd name="T8" fmla="*/ 471 w 793"/>
                <a:gd name="T9" fmla="*/ 644 h 751"/>
                <a:gd name="T10" fmla="*/ 672 w 793"/>
                <a:gd name="T11" fmla="*/ 574 h 751"/>
                <a:gd name="T12" fmla="*/ 698 w 793"/>
                <a:gd name="T13" fmla="*/ 599 h 751"/>
                <a:gd name="T14" fmla="*/ 218 w 793"/>
                <a:gd name="T15" fmla="*/ 575 h 751"/>
                <a:gd name="T16" fmla="*/ 471 w 793"/>
                <a:gd name="T17" fmla="*/ 71 h 751"/>
                <a:gd name="T18" fmla="*/ 722 w 793"/>
                <a:gd name="T19" fmla="*/ 322 h 751"/>
                <a:gd name="T20" fmla="*/ 471 w 793"/>
                <a:gd name="T21" fmla="*/ 573 h 751"/>
                <a:gd name="T22" fmla="*/ 220 w 793"/>
                <a:gd name="T23" fmla="*/ 322 h 751"/>
                <a:gd name="T24" fmla="*/ 471 w 793"/>
                <a:gd name="T25" fmla="*/ 71 h 751"/>
                <a:gd name="T26" fmla="*/ 723 w 793"/>
                <a:gd name="T27" fmla="*/ 523 h 751"/>
                <a:gd name="T28" fmla="*/ 793 w 793"/>
                <a:gd name="T29" fmla="*/ 322 h 751"/>
                <a:gd name="T30" fmla="*/ 471 w 793"/>
                <a:gd name="T31" fmla="*/ 0 h 751"/>
                <a:gd name="T32" fmla="*/ 270 w 793"/>
                <a:gd name="T33" fmla="*/ 71 h 751"/>
                <a:gd name="T34" fmla="*/ 218 w 793"/>
                <a:gd name="T35" fmla="*/ 18 h 751"/>
                <a:gd name="T36" fmla="*/ 192 w 793"/>
                <a:gd name="T37" fmla="*/ 8 h 751"/>
                <a:gd name="T38" fmla="*/ 192 w 793"/>
                <a:gd name="T39" fmla="*/ 8 h 751"/>
                <a:gd name="T40" fmla="*/ 167 w 793"/>
                <a:gd name="T41" fmla="*/ 18 h 751"/>
                <a:gd name="T42" fmla="*/ 167 w 793"/>
                <a:gd name="T43" fmla="*/ 626 h 751"/>
                <a:gd name="T44" fmla="*/ 471 w 793"/>
                <a:gd name="T45" fmla="*/ 751 h 751"/>
                <a:gd name="T46" fmla="*/ 775 w 793"/>
                <a:gd name="T47" fmla="*/ 626 h 751"/>
                <a:gd name="T48" fmla="*/ 785 w 793"/>
                <a:gd name="T49" fmla="*/ 601 h 751"/>
                <a:gd name="T50" fmla="*/ 775 w 793"/>
                <a:gd name="T51" fmla="*/ 575 h 751"/>
                <a:gd name="T52" fmla="*/ 723 w 793"/>
                <a:gd name="T53" fmla="*/ 523 h 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93" h="751">
                  <a:moveTo>
                    <a:pt x="218" y="575"/>
                  </a:moveTo>
                  <a:cubicBezTo>
                    <a:pt x="87" y="444"/>
                    <a:pt x="79" y="236"/>
                    <a:pt x="194" y="95"/>
                  </a:cubicBezTo>
                  <a:lnTo>
                    <a:pt x="219" y="121"/>
                  </a:lnTo>
                  <a:cubicBezTo>
                    <a:pt x="175" y="176"/>
                    <a:pt x="149" y="246"/>
                    <a:pt x="149" y="322"/>
                  </a:cubicBezTo>
                  <a:cubicBezTo>
                    <a:pt x="149" y="500"/>
                    <a:pt x="293" y="644"/>
                    <a:pt x="471" y="644"/>
                  </a:cubicBezTo>
                  <a:cubicBezTo>
                    <a:pt x="547" y="644"/>
                    <a:pt x="617" y="618"/>
                    <a:pt x="672" y="574"/>
                  </a:cubicBezTo>
                  <a:lnTo>
                    <a:pt x="698" y="599"/>
                  </a:lnTo>
                  <a:cubicBezTo>
                    <a:pt x="557" y="714"/>
                    <a:pt x="349" y="706"/>
                    <a:pt x="218" y="575"/>
                  </a:cubicBezTo>
                  <a:close/>
                  <a:moveTo>
                    <a:pt x="471" y="71"/>
                  </a:moveTo>
                  <a:cubicBezTo>
                    <a:pt x="609" y="71"/>
                    <a:pt x="722" y="184"/>
                    <a:pt x="722" y="322"/>
                  </a:cubicBezTo>
                  <a:cubicBezTo>
                    <a:pt x="722" y="460"/>
                    <a:pt x="609" y="573"/>
                    <a:pt x="471" y="573"/>
                  </a:cubicBezTo>
                  <a:cubicBezTo>
                    <a:pt x="333" y="573"/>
                    <a:pt x="220" y="460"/>
                    <a:pt x="220" y="322"/>
                  </a:cubicBezTo>
                  <a:cubicBezTo>
                    <a:pt x="220" y="184"/>
                    <a:pt x="333" y="71"/>
                    <a:pt x="471" y="71"/>
                  </a:cubicBezTo>
                  <a:close/>
                  <a:moveTo>
                    <a:pt x="723" y="523"/>
                  </a:moveTo>
                  <a:cubicBezTo>
                    <a:pt x="767" y="468"/>
                    <a:pt x="793" y="398"/>
                    <a:pt x="793" y="322"/>
                  </a:cubicBezTo>
                  <a:cubicBezTo>
                    <a:pt x="793" y="144"/>
                    <a:pt x="649" y="0"/>
                    <a:pt x="471" y="0"/>
                  </a:cubicBezTo>
                  <a:cubicBezTo>
                    <a:pt x="395" y="0"/>
                    <a:pt x="325" y="26"/>
                    <a:pt x="270" y="71"/>
                  </a:cubicBezTo>
                  <a:lnTo>
                    <a:pt x="218" y="18"/>
                  </a:lnTo>
                  <a:cubicBezTo>
                    <a:pt x="211" y="11"/>
                    <a:pt x="202" y="8"/>
                    <a:pt x="192" y="8"/>
                  </a:cubicBezTo>
                  <a:cubicBezTo>
                    <a:pt x="192" y="8"/>
                    <a:pt x="192" y="8"/>
                    <a:pt x="192" y="8"/>
                  </a:cubicBezTo>
                  <a:cubicBezTo>
                    <a:pt x="183" y="8"/>
                    <a:pt x="174" y="11"/>
                    <a:pt x="167" y="18"/>
                  </a:cubicBezTo>
                  <a:cubicBezTo>
                    <a:pt x="0" y="186"/>
                    <a:pt x="0" y="458"/>
                    <a:pt x="167" y="626"/>
                  </a:cubicBezTo>
                  <a:cubicBezTo>
                    <a:pt x="251" y="710"/>
                    <a:pt x="361" y="751"/>
                    <a:pt x="471" y="751"/>
                  </a:cubicBezTo>
                  <a:cubicBezTo>
                    <a:pt x="581" y="751"/>
                    <a:pt x="691" y="710"/>
                    <a:pt x="775" y="626"/>
                  </a:cubicBezTo>
                  <a:cubicBezTo>
                    <a:pt x="782" y="619"/>
                    <a:pt x="785" y="610"/>
                    <a:pt x="785" y="601"/>
                  </a:cubicBezTo>
                  <a:cubicBezTo>
                    <a:pt x="785" y="591"/>
                    <a:pt x="782" y="582"/>
                    <a:pt x="775" y="575"/>
                  </a:cubicBezTo>
                  <a:lnTo>
                    <a:pt x="723" y="5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65" name="Rectangle 43"/>
            <p:cNvSpPr>
              <a:spLocks noChangeArrowheads="1"/>
            </p:cNvSpPr>
            <p:nvPr/>
          </p:nvSpPr>
          <p:spPr bwMode="auto">
            <a:xfrm>
              <a:off x="637377" y="3110722"/>
              <a:ext cx="148646" cy="3827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sp>
        <p:nvSpPr>
          <p:cNvPr id="66" name="Freeform 44"/>
          <p:cNvSpPr>
            <a:spLocks noEditPoints="1"/>
          </p:cNvSpPr>
          <p:nvPr/>
        </p:nvSpPr>
        <p:spPr bwMode="auto">
          <a:xfrm>
            <a:off x="10966795" y="509538"/>
            <a:ext cx="573565" cy="621313"/>
          </a:xfrm>
          <a:custGeom>
            <a:avLst/>
            <a:gdLst>
              <a:gd name="T0" fmla="*/ 583 w 837"/>
              <a:gd name="T1" fmla="*/ 579 h 901"/>
              <a:gd name="T2" fmla="*/ 511 w 837"/>
              <a:gd name="T3" fmla="*/ 650 h 901"/>
              <a:gd name="T4" fmla="*/ 583 w 837"/>
              <a:gd name="T5" fmla="*/ 722 h 901"/>
              <a:gd name="T6" fmla="*/ 654 w 837"/>
              <a:gd name="T7" fmla="*/ 650 h 901"/>
              <a:gd name="T8" fmla="*/ 583 w 837"/>
              <a:gd name="T9" fmla="*/ 579 h 901"/>
              <a:gd name="T10" fmla="*/ 332 w 837"/>
              <a:gd name="T11" fmla="*/ 579 h 901"/>
              <a:gd name="T12" fmla="*/ 260 w 837"/>
              <a:gd name="T13" fmla="*/ 650 h 901"/>
              <a:gd name="T14" fmla="*/ 332 w 837"/>
              <a:gd name="T15" fmla="*/ 722 h 901"/>
              <a:gd name="T16" fmla="*/ 404 w 837"/>
              <a:gd name="T17" fmla="*/ 650 h 901"/>
              <a:gd name="T18" fmla="*/ 332 w 837"/>
              <a:gd name="T19" fmla="*/ 579 h 901"/>
              <a:gd name="T20" fmla="*/ 332 w 837"/>
              <a:gd name="T21" fmla="*/ 435 h 901"/>
              <a:gd name="T22" fmla="*/ 260 w 837"/>
              <a:gd name="T23" fmla="*/ 364 h 901"/>
              <a:gd name="T24" fmla="*/ 189 w 837"/>
              <a:gd name="T25" fmla="*/ 435 h 901"/>
              <a:gd name="T26" fmla="*/ 260 w 837"/>
              <a:gd name="T27" fmla="*/ 507 h 901"/>
              <a:gd name="T28" fmla="*/ 332 w 837"/>
              <a:gd name="T29" fmla="*/ 435 h 901"/>
              <a:gd name="T30" fmla="*/ 404 w 837"/>
              <a:gd name="T31" fmla="*/ 185 h 901"/>
              <a:gd name="T32" fmla="*/ 332 w 837"/>
              <a:gd name="T33" fmla="*/ 256 h 901"/>
              <a:gd name="T34" fmla="*/ 404 w 837"/>
              <a:gd name="T35" fmla="*/ 328 h 901"/>
              <a:gd name="T36" fmla="*/ 475 w 837"/>
              <a:gd name="T37" fmla="*/ 256 h 901"/>
              <a:gd name="T38" fmla="*/ 404 w 837"/>
              <a:gd name="T39" fmla="*/ 185 h 901"/>
              <a:gd name="T40" fmla="*/ 757 w 837"/>
              <a:gd name="T41" fmla="*/ 635 h 901"/>
              <a:gd name="T42" fmla="*/ 698 w 837"/>
              <a:gd name="T43" fmla="*/ 711 h 901"/>
              <a:gd name="T44" fmla="*/ 429 w 837"/>
              <a:gd name="T45" fmla="*/ 829 h 901"/>
              <a:gd name="T46" fmla="*/ 207 w 837"/>
              <a:gd name="T47" fmla="*/ 738 h 901"/>
              <a:gd name="T48" fmla="*/ 233 w 837"/>
              <a:gd name="T49" fmla="*/ 231 h 901"/>
              <a:gd name="T50" fmla="*/ 502 w 837"/>
              <a:gd name="T51" fmla="*/ 113 h 901"/>
              <a:gd name="T52" fmla="*/ 658 w 837"/>
              <a:gd name="T53" fmla="*/ 154 h 901"/>
              <a:gd name="T54" fmla="*/ 675 w 837"/>
              <a:gd name="T55" fmla="*/ 177 h 901"/>
              <a:gd name="T56" fmla="*/ 665 w 837"/>
              <a:gd name="T57" fmla="*/ 208 h 901"/>
              <a:gd name="T58" fmla="*/ 602 w 837"/>
              <a:gd name="T59" fmla="*/ 366 h 901"/>
              <a:gd name="T60" fmla="*/ 744 w 837"/>
              <a:gd name="T61" fmla="*/ 584 h 901"/>
              <a:gd name="T62" fmla="*/ 760 w 837"/>
              <a:gd name="T63" fmla="*/ 605 h 901"/>
              <a:gd name="T64" fmla="*/ 757 w 837"/>
              <a:gd name="T65" fmla="*/ 635 h 901"/>
              <a:gd name="T66" fmla="*/ 829 w 837"/>
              <a:gd name="T67" fmla="*/ 585 h 901"/>
              <a:gd name="T68" fmla="*/ 776 w 837"/>
              <a:gd name="T69" fmla="*/ 520 h 901"/>
              <a:gd name="T70" fmla="*/ 673 w 837"/>
              <a:gd name="T71" fmla="*/ 366 h 901"/>
              <a:gd name="T72" fmla="*/ 718 w 837"/>
              <a:gd name="T73" fmla="*/ 257 h 901"/>
              <a:gd name="T74" fmla="*/ 746 w 837"/>
              <a:gd name="T75" fmla="*/ 166 h 901"/>
              <a:gd name="T76" fmla="*/ 694 w 837"/>
              <a:gd name="T77" fmla="*/ 92 h 901"/>
              <a:gd name="T78" fmla="*/ 181 w 837"/>
              <a:gd name="T79" fmla="*/ 181 h 901"/>
              <a:gd name="T80" fmla="*/ 156 w 837"/>
              <a:gd name="T81" fmla="*/ 788 h 901"/>
              <a:gd name="T82" fmla="*/ 429 w 837"/>
              <a:gd name="T83" fmla="*/ 901 h 901"/>
              <a:gd name="T84" fmla="*/ 749 w 837"/>
              <a:gd name="T85" fmla="*/ 761 h 901"/>
              <a:gd name="T86" fmla="*/ 818 w 837"/>
              <a:gd name="T87" fmla="*/ 672 h 901"/>
              <a:gd name="T88" fmla="*/ 829 w 837"/>
              <a:gd name="T89" fmla="*/ 585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37" h="901">
                <a:moveTo>
                  <a:pt x="583" y="579"/>
                </a:moveTo>
                <a:cubicBezTo>
                  <a:pt x="543" y="579"/>
                  <a:pt x="511" y="611"/>
                  <a:pt x="511" y="650"/>
                </a:cubicBezTo>
                <a:cubicBezTo>
                  <a:pt x="511" y="690"/>
                  <a:pt x="543" y="722"/>
                  <a:pt x="583" y="722"/>
                </a:cubicBezTo>
                <a:cubicBezTo>
                  <a:pt x="622" y="722"/>
                  <a:pt x="654" y="690"/>
                  <a:pt x="654" y="650"/>
                </a:cubicBezTo>
                <a:cubicBezTo>
                  <a:pt x="654" y="611"/>
                  <a:pt x="622" y="579"/>
                  <a:pt x="583" y="579"/>
                </a:cubicBezTo>
                <a:close/>
                <a:moveTo>
                  <a:pt x="332" y="579"/>
                </a:moveTo>
                <a:cubicBezTo>
                  <a:pt x="292" y="579"/>
                  <a:pt x="260" y="611"/>
                  <a:pt x="260" y="650"/>
                </a:cubicBezTo>
                <a:cubicBezTo>
                  <a:pt x="260" y="690"/>
                  <a:pt x="292" y="722"/>
                  <a:pt x="332" y="722"/>
                </a:cubicBezTo>
                <a:cubicBezTo>
                  <a:pt x="372" y="722"/>
                  <a:pt x="404" y="690"/>
                  <a:pt x="404" y="650"/>
                </a:cubicBezTo>
                <a:cubicBezTo>
                  <a:pt x="404" y="611"/>
                  <a:pt x="372" y="579"/>
                  <a:pt x="332" y="579"/>
                </a:cubicBezTo>
                <a:close/>
                <a:moveTo>
                  <a:pt x="332" y="435"/>
                </a:moveTo>
                <a:cubicBezTo>
                  <a:pt x="332" y="396"/>
                  <a:pt x="300" y="364"/>
                  <a:pt x="260" y="364"/>
                </a:cubicBezTo>
                <a:cubicBezTo>
                  <a:pt x="221" y="364"/>
                  <a:pt x="189" y="396"/>
                  <a:pt x="189" y="435"/>
                </a:cubicBezTo>
                <a:cubicBezTo>
                  <a:pt x="189" y="475"/>
                  <a:pt x="221" y="507"/>
                  <a:pt x="260" y="507"/>
                </a:cubicBezTo>
                <a:cubicBezTo>
                  <a:pt x="300" y="507"/>
                  <a:pt x="332" y="475"/>
                  <a:pt x="332" y="435"/>
                </a:cubicBezTo>
                <a:close/>
                <a:moveTo>
                  <a:pt x="404" y="185"/>
                </a:moveTo>
                <a:cubicBezTo>
                  <a:pt x="364" y="185"/>
                  <a:pt x="332" y="217"/>
                  <a:pt x="332" y="256"/>
                </a:cubicBezTo>
                <a:cubicBezTo>
                  <a:pt x="332" y="296"/>
                  <a:pt x="364" y="328"/>
                  <a:pt x="404" y="328"/>
                </a:cubicBezTo>
                <a:cubicBezTo>
                  <a:pt x="443" y="328"/>
                  <a:pt x="475" y="296"/>
                  <a:pt x="475" y="256"/>
                </a:cubicBezTo>
                <a:cubicBezTo>
                  <a:pt x="475" y="217"/>
                  <a:pt x="443" y="185"/>
                  <a:pt x="404" y="185"/>
                </a:cubicBezTo>
                <a:close/>
                <a:moveTo>
                  <a:pt x="757" y="635"/>
                </a:moveTo>
                <a:cubicBezTo>
                  <a:pt x="740" y="663"/>
                  <a:pt x="721" y="688"/>
                  <a:pt x="698" y="711"/>
                </a:cubicBezTo>
                <a:cubicBezTo>
                  <a:pt x="625" y="786"/>
                  <a:pt x="527" y="829"/>
                  <a:pt x="429" y="829"/>
                </a:cubicBezTo>
                <a:cubicBezTo>
                  <a:pt x="343" y="829"/>
                  <a:pt x="265" y="797"/>
                  <a:pt x="207" y="738"/>
                </a:cubicBezTo>
                <a:cubicBezTo>
                  <a:pt x="78" y="605"/>
                  <a:pt x="89" y="378"/>
                  <a:pt x="233" y="231"/>
                </a:cubicBezTo>
                <a:cubicBezTo>
                  <a:pt x="308" y="154"/>
                  <a:pt x="406" y="113"/>
                  <a:pt x="502" y="113"/>
                </a:cubicBezTo>
                <a:cubicBezTo>
                  <a:pt x="557" y="113"/>
                  <a:pt x="610" y="126"/>
                  <a:pt x="658" y="154"/>
                </a:cubicBezTo>
                <a:cubicBezTo>
                  <a:pt x="668" y="159"/>
                  <a:pt x="674" y="167"/>
                  <a:pt x="675" y="177"/>
                </a:cubicBezTo>
                <a:cubicBezTo>
                  <a:pt x="677" y="188"/>
                  <a:pt x="673" y="199"/>
                  <a:pt x="665" y="208"/>
                </a:cubicBezTo>
                <a:cubicBezTo>
                  <a:pt x="624" y="253"/>
                  <a:pt x="602" y="309"/>
                  <a:pt x="602" y="366"/>
                </a:cubicBezTo>
                <a:cubicBezTo>
                  <a:pt x="602" y="456"/>
                  <a:pt x="656" y="540"/>
                  <a:pt x="744" y="584"/>
                </a:cubicBezTo>
                <a:cubicBezTo>
                  <a:pt x="754" y="590"/>
                  <a:pt x="759" y="600"/>
                  <a:pt x="760" y="605"/>
                </a:cubicBezTo>
                <a:cubicBezTo>
                  <a:pt x="763" y="615"/>
                  <a:pt x="762" y="626"/>
                  <a:pt x="757" y="635"/>
                </a:cubicBezTo>
                <a:close/>
                <a:moveTo>
                  <a:pt x="829" y="585"/>
                </a:moveTo>
                <a:cubicBezTo>
                  <a:pt x="821" y="557"/>
                  <a:pt x="801" y="533"/>
                  <a:pt x="776" y="520"/>
                </a:cubicBezTo>
                <a:cubicBezTo>
                  <a:pt x="713" y="488"/>
                  <a:pt x="673" y="429"/>
                  <a:pt x="673" y="366"/>
                </a:cubicBezTo>
                <a:cubicBezTo>
                  <a:pt x="673" y="326"/>
                  <a:pt x="689" y="288"/>
                  <a:pt x="718" y="257"/>
                </a:cubicBezTo>
                <a:cubicBezTo>
                  <a:pt x="741" y="231"/>
                  <a:pt x="751" y="198"/>
                  <a:pt x="746" y="166"/>
                </a:cubicBezTo>
                <a:cubicBezTo>
                  <a:pt x="741" y="135"/>
                  <a:pt x="722" y="108"/>
                  <a:pt x="694" y="92"/>
                </a:cubicBezTo>
                <a:cubicBezTo>
                  <a:pt x="533" y="0"/>
                  <a:pt x="323" y="37"/>
                  <a:pt x="181" y="181"/>
                </a:cubicBezTo>
                <a:cubicBezTo>
                  <a:pt x="11" y="356"/>
                  <a:pt x="0" y="628"/>
                  <a:pt x="156" y="788"/>
                </a:cubicBezTo>
                <a:cubicBezTo>
                  <a:pt x="227" y="861"/>
                  <a:pt x="324" y="901"/>
                  <a:pt x="429" y="901"/>
                </a:cubicBezTo>
                <a:cubicBezTo>
                  <a:pt x="546" y="901"/>
                  <a:pt x="663" y="850"/>
                  <a:pt x="749" y="761"/>
                </a:cubicBezTo>
                <a:cubicBezTo>
                  <a:pt x="776" y="734"/>
                  <a:pt x="799" y="704"/>
                  <a:pt x="818" y="672"/>
                </a:cubicBezTo>
                <a:cubicBezTo>
                  <a:pt x="833" y="646"/>
                  <a:pt x="837" y="615"/>
                  <a:pt x="829" y="58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7" name="Freeform 45"/>
          <p:cNvSpPr>
            <a:spLocks noEditPoints="1"/>
          </p:cNvSpPr>
          <p:nvPr/>
        </p:nvSpPr>
        <p:spPr bwMode="auto">
          <a:xfrm>
            <a:off x="630619" y="1794187"/>
            <a:ext cx="588580" cy="567288"/>
          </a:xfrm>
          <a:custGeom>
            <a:avLst/>
            <a:gdLst>
              <a:gd name="T0" fmla="*/ 573 w 859"/>
              <a:gd name="T1" fmla="*/ 573 h 824"/>
              <a:gd name="T2" fmla="*/ 573 w 859"/>
              <a:gd name="T3" fmla="*/ 645 h 824"/>
              <a:gd name="T4" fmla="*/ 859 w 859"/>
              <a:gd name="T5" fmla="*/ 645 h 824"/>
              <a:gd name="T6" fmla="*/ 859 w 859"/>
              <a:gd name="T7" fmla="*/ 573 h 824"/>
              <a:gd name="T8" fmla="*/ 573 w 859"/>
              <a:gd name="T9" fmla="*/ 573 h 824"/>
              <a:gd name="T10" fmla="*/ 787 w 859"/>
              <a:gd name="T11" fmla="*/ 537 h 824"/>
              <a:gd name="T12" fmla="*/ 787 w 859"/>
              <a:gd name="T13" fmla="*/ 466 h 824"/>
              <a:gd name="T14" fmla="*/ 573 w 859"/>
              <a:gd name="T15" fmla="*/ 466 h 824"/>
              <a:gd name="T16" fmla="*/ 573 w 859"/>
              <a:gd name="T17" fmla="*/ 537 h 824"/>
              <a:gd name="T18" fmla="*/ 787 w 859"/>
              <a:gd name="T19" fmla="*/ 537 h 824"/>
              <a:gd name="T20" fmla="*/ 250 w 859"/>
              <a:gd name="T21" fmla="*/ 430 h 824"/>
              <a:gd name="T22" fmla="*/ 250 w 859"/>
              <a:gd name="T23" fmla="*/ 698 h 824"/>
              <a:gd name="T24" fmla="*/ 394 w 859"/>
              <a:gd name="T25" fmla="*/ 627 h 824"/>
              <a:gd name="T26" fmla="*/ 537 w 859"/>
              <a:gd name="T27" fmla="*/ 698 h 824"/>
              <a:gd name="T28" fmla="*/ 537 w 859"/>
              <a:gd name="T29" fmla="*/ 430 h 824"/>
              <a:gd name="T30" fmla="*/ 465 w 859"/>
              <a:gd name="T31" fmla="*/ 430 h 824"/>
              <a:gd name="T32" fmla="*/ 465 w 859"/>
              <a:gd name="T33" fmla="*/ 582 h 824"/>
              <a:gd name="T34" fmla="*/ 394 w 859"/>
              <a:gd name="T35" fmla="*/ 547 h 824"/>
              <a:gd name="T36" fmla="*/ 322 w 859"/>
              <a:gd name="T37" fmla="*/ 582 h 824"/>
              <a:gd name="T38" fmla="*/ 322 w 859"/>
              <a:gd name="T39" fmla="*/ 430 h 824"/>
              <a:gd name="T40" fmla="*/ 250 w 859"/>
              <a:gd name="T41" fmla="*/ 430 h 824"/>
              <a:gd name="T42" fmla="*/ 788 w 859"/>
              <a:gd name="T43" fmla="*/ 125 h 824"/>
              <a:gd name="T44" fmla="*/ 662 w 859"/>
              <a:gd name="T45" fmla="*/ 0 h 824"/>
              <a:gd name="T46" fmla="*/ 143 w 859"/>
              <a:gd name="T47" fmla="*/ 0 h 824"/>
              <a:gd name="T48" fmla="*/ 143 w 859"/>
              <a:gd name="T49" fmla="*/ 72 h 824"/>
              <a:gd name="T50" fmla="*/ 662 w 859"/>
              <a:gd name="T51" fmla="*/ 72 h 824"/>
              <a:gd name="T52" fmla="*/ 716 w 859"/>
              <a:gd name="T53" fmla="*/ 125 h 824"/>
              <a:gd name="T54" fmla="*/ 662 w 859"/>
              <a:gd name="T55" fmla="*/ 179 h 824"/>
              <a:gd name="T56" fmla="*/ 143 w 859"/>
              <a:gd name="T57" fmla="*/ 179 h 824"/>
              <a:gd name="T58" fmla="*/ 143 w 859"/>
              <a:gd name="T59" fmla="*/ 251 h 824"/>
              <a:gd name="T60" fmla="*/ 662 w 859"/>
              <a:gd name="T61" fmla="*/ 251 h 824"/>
              <a:gd name="T62" fmla="*/ 788 w 859"/>
              <a:gd name="T63" fmla="*/ 125 h 824"/>
              <a:gd name="T64" fmla="*/ 197 w 859"/>
              <a:gd name="T65" fmla="*/ 537 h 824"/>
              <a:gd name="T66" fmla="*/ 214 w 859"/>
              <a:gd name="T67" fmla="*/ 537 h 824"/>
              <a:gd name="T68" fmla="*/ 214 w 859"/>
              <a:gd name="T69" fmla="*/ 466 h 824"/>
              <a:gd name="T70" fmla="*/ 197 w 859"/>
              <a:gd name="T71" fmla="*/ 466 h 824"/>
              <a:gd name="T72" fmla="*/ 143 w 859"/>
              <a:gd name="T73" fmla="*/ 412 h 824"/>
              <a:gd name="T74" fmla="*/ 197 w 859"/>
              <a:gd name="T75" fmla="*/ 358 h 824"/>
              <a:gd name="T76" fmla="*/ 787 w 859"/>
              <a:gd name="T77" fmla="*/ 358 h 824"/>
              <a:gd name="T78" fmla="*/ 787 w 859"/>
              <a:gd name="T79" fmla="*/ 286 h 824"/>
              <a:gd name="T80" fmla="*/ 197 w 859"/>
              <a:gd name="T81" fmla="*/ 286 h 824"/>
              <a:gd name="T82" fmla="*/ 71 w 859"/>
              <a:gd name="T83" fmla="*/ 412 h 824"/>
              <a:gd name="T84" fmla="*/ 197 w 859"/>
              <a:gd name="T85" fmla="*/ 537 h 824"/>
              <a:gd name="T86" fmla="*/ 71 w 859"/>
              <a:gd name="T87" fmla="*/ 698 h 824"/>
              <a:gd name="T88" fmla="*/ 125 w 859"/>
              <a:gd name="T89" fmla="*/ 645 h 824"/>
              <a:gd name="T90" fmla="*/ 214 w 859"/>
              <a:gd name="T91" fmla="*/ 645 h 824"/>
              <a:gd name="T92" fmla="*/ 214 w 859"/>
              <a:gd name="T93" fmla="*/ 573 h 824"/>
              <a:gd name="T94" fmla="*/ 125 w 859"/>
              <a:gd name="T95" fmla="*/ 573 h 824"/>
              <a:gd name="T96" fmla="*/ 0 w 859"/>
              <a:gd name="T97" fmla="*/ 698 h 824"/>
              <a:gd name="T98" fmla="*/ 125 w 859"/>
              <a:gd name="T99" fmla="*/ 824 h 824"/>
              <a:gd name="T100" fmla="*/ 859 w 859"/>
              <a:gd name="T101" fmla="*/ 824 h 824"/>
              <a:gd name="T102" fmla="*/ 859 w 859"/>
              <a:gd name="T103" fmla="*/ 752 h 824"/>
              <a:gd name="T104" fmla="*/ 125 w 859"/>
              <a:gd name="T105" fmla="*/ 752 h 824"/>
              <a:gd name="T106" fmla="*/ 71 w 859"/>
              <a:gd name="T107" fmla="*/ 698 h 8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59" h="824">
                <a:moveTo>
                  <a:pt x="573" y="573"/>
                </a:moveTo>
                <a:lnTo>
                  <a:pt x="573" y="645"/>
                </a:lnTo>
                <a:lnTo>
                  <a:pt x="859" y="645"/>
                </a:lnTo>
                <a:lnTo>
                  <a:pt x="859" y="573"/>
                </a:lnTo>
                <a:lnTo>
                  <a:pt x="573" y="573"/>
                </a:lnTo>
                <a:close/>
                <a:moveTo>
                  <a:pt x="787" y="537"/>
                </a:moveTo>
                <a:lnTo>
                  <a:pt x="787" y="466"/>
                </a:lnTo>
                <a:lnTo>
                  <a:pt x="573" y="466"/>
                </a:lnTo>
                <a:lnTo>
                  <a:pt x="573" y="537"/>
                </a:lnTo>
                <a:lnTo>
                  <a:pt x="787" y="537"/>
                </a:lnTo>
                <a:close/>
                <a:moveTo>
                  <a:pt x="250" y="430"/>
                </a:moveTo>
                <a:lnTo>
                  <a:pt x="250" y="698"/>
                </a:lnTo>
                <a:lnTo>
                  <a:pt x="394" y="627"/>
                </a:lnTo>
                <a:lnTo>
                  <a:pt x="537" y="698"/>
                </a:lnTo>
                <a:lnTo>
                  <a:pt x="537" y="430"/>
                </a:lnTo>
                <a:lnTo>
                  <a:pt x="465" y="430"/>
                </a:lnTo>
                <a:lnTo>
                  <a:pt x="465" y="582"/>
                </a:lnTo>
                <a:lnTo>
                  <a:pt x="394" y="547"/>
                </a:lnTo>
                <a:lnTo>
                  <a:pt x="322" y="582"/>
                </a:lnTo>
                <a:lnTo>
                  <a:pt x="322" y="430"/>
                </a:lnTo>
                <a:lnTo>
                  <a:pt x="250" y="430"/>
                </a:lnTo>
                <a:close/>
                <a:moveTo>
                  <a:pt x="788" y="125"/>
                </a:moveTo>
                <a:cubicBezTo>
                  <a:pt x="788" y="56"/>
                  <a:pt x="731" y="0"/>
                  <a:pt x="662" y="0"/>
                </a:cubicBezTo>
                <a:lnTo>
                  <a:pt x="143" y="0"/>
                </a:lnTo>
                <a:lnTo>
                  <a:pt x="143" y="72"/>
                </a:lnTo>
                <a:lnTo>
                  <a:pt x="662" y="72"/>
                </a:lnTo>
                <a:cubicBezTo>
                  <a:pt x="692" y="72"/>
                  <a:pt x="716" y="96"/>
                  <a:pt x="716" y="125"/>
                </a:cubicBezTo>
                <a:cubicBezTo>
                  <a:pt x="716" y="155"/>
                  <a:pt x="692" y="179"/>
                  <a:pt x="662" y="179"/>
                </a:cubicBezTo>
                <a:lnTo>
                  <a:pt x="143" y="179"/>
                </a:lnTo>
                <a:lnTo>
                  <a:pt x="143" y="251"/>
                </a:lnTo>
                <a:lnTo>
                  <a:pt x="662" y="251"/>
                </a:lnTo>
                <a:cubicBezTo>
                  <a:pt x="731" y="251"/>
                  <a:pt x="788" y="194"/>
                  <a:pt x="788" y="125"/>
                </a:cubicBezTo>
                <a:close/>
                <a:moveTo>
                  <a:pt x="197" y="537"/>
                </a:moveTo>
                <a:lnTo>
                  <a:pt x="214" y="537"/>
                </a:lnTo>
                <a:lnTo>
                  <a:pt x="214" y="466"/>
                </a:lnTo>
                <a:lnTo>
                  <a:pt x="197" y="466"/>
                </a:lnTo>
                <a:cubicBezTo>
                  <a:pt x="167" y="466"/>
                  <a:pt x="143" y="441"/>
                  <a:pt x="143" y="412"/>
                </a:cubicBezTo>
                <a:cubicBezTo>
                  <a:pt x="143" y="382"/>
                  <a:pt x="167" y="358"/>
                  <a:pt x="197" y="358"/>
                </a:cubicBezTo>
                <a:lnTo>
                  <a:pt x="787" y="358"/>
                </a:lnTo>
                <a:lnTo>
                  <a:pt x="787" y="286"/>
                </a:lnTo>
                <a:lnTo>
                  <a:pt x="197" y="286"/>
                </a:lnTo>
                <a:cubicBezTo>
                  <a:pt x="128" y="286"/>
                  <a:pt x="71" y="343"/>
                  <a:pt x="71" y="412"/>
                </a:cubicBezTo>
                <a:cubicBezTo>
                  <a:pt x="71" y="481"/>
                  <a:pt x="128" y="537"/>
                  <a:pt x="197" y="537"/>
                </a:cubicBezTo>
                <a:close/>
                <a:moveTo>
                  <a:pt x="71" y="698"/>
                </a:moveTo>
                <a:cubicBezTo>
                  <a:pt x="71" y="669"/>
                  <a:pt x="95" y="645"/>
                  <a:pt x="125" y="645"/>
                </a:cubicBezTo>
                <a:lnTo>
                  <a:pt x="214" y="645"/>
                </a:lnTo>
                <a:lnTo>
                  <a:pt x="214" y="573"/>
                </a:lnTo>
                <a:lnTo>
                  <a:pt x="125" y="573"/>
                </a:lnTo>
                <a:cubicBezTo>
                  <a:pt x="56" y="573"/>
                  <a:pt x="0" y="629"/>
                  <a:pt x="0" y="698"/>
                </a:cubicBezTo>
                <a:cubicBezTo>
                  <a:pt x="0" y="767"/>
                  <a:pt x="56" y="824"/>
                  <a:pt x="125" y="824"/>
                </a:cubicBezTo>
                <a:lnTo>
                  <a:pt x="859" y="824"/>
                </a:lnTo>
                <a:lnTo>
                  <a:pt x="859" y="752"/>
                </a:lnTo>
                <a:lnTo>
                  <a:pt x="125" y="752"/>
                </a:lnTo>
                <a:cubicBezTo>
                  <a:pt x="95" y="752"/>
                  <a:pt x="71" y="728"/>
                  <a:pt x="71" y="69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8" name="Freeform 46"/>
          <p:cNvSpPr>
            <a:spLocks noEditPoints="1"/>
          </p:cNvSpPr>
          <p:nvPr/>
        </p:nvSpPr>
        <p:spPr bwMode="auto">
          <a:xfrm>
            <a:off x="2195162" y="1780680"/>
            <a:ext cx="411407" cy="594301"/>
          </a:xfrm>
          <a:custGeom>
            <a:avLst/>
            <a:gdLst>
              <a:gd name="T0" fmla="*/ 275 w 598"/>
              <a:gd name="T1" fmla="*/ 251 h 860"/>
              <a:gd name="T2" fmla="*/ 347 w 598"/>
              <a:gd name="T3" fmla="*/ 179 h 860"/>
              <a:gd name="T4" fmla="*/ 419 w 598"/>
              <a:gd name="T5" fmla="*/ 251 h 860"/>
              <a:gd name="T6" fmla="*/ 347 w 598"/>
              <a:gd name="T7" fmla="*/ 322 h 860"/>
              <a:gd name="T8" fmla="*/ 275 w 598"/>
              <a:gd name="T9" fmla="*/ 251 h 860"/>
              <a:gd name="T10" fmla="*/ 598 w 598"/>
              <a:gd name="T11" fmla="*/ 752 h 860"/>
              <a:gd name="T12" fmla="*/ 449 w 598"/>
              <a:gd name="T13" fmla="*/ 352 h 860"/>
              <a:gd name="T14" fmla="*/ 490 w 598"/>
              <a:gd name="T15" fmla="*/ 251 h 860"/>
              <a:gd name="T16" fmla="*/ 383 w 598"/>
              <a:gd name="T17" fmla="*/ 113 h 860"/>
              <a:gd name="T18" fmla="*/ 383 w 598"/>
              <a:gd name="T19" fmla="*/ 36 h 860"/>
              <a:gd name="T20" fmla="*/ 347 w 598"/>
              <a:gd name="T21" fmla="*/ 0 h 860"/>
              <a:gd name="T22" fmla="*/ 311 w 598"/>
              <a:gd name="T23" fmla="*/ 36 h 860"/>
              <a:gd name="T24" fmla="*/ 311 w 598"/>
              <a:gd name="T25" fmla="*/ 113 h 860"/>
              <a:gd name="T26" fmla="*/ 204 w 598"/>
              <a:gd name="T27" fmla="*/ 251 h 860"/>
              <a:gd name="T28" fmla="*/ 245 w 598"/>
              <a:gd name="T29" fmla="*/ 352 h 860"/>
              <a:gd name="T30" fmla="*/ 196 w 598"/>
              <a:gd name="T31" fmla="*/ 485 h 860"/>
              <a:gd name="T32" fmla="*/ 260 w 598"/>
              <a:gd name="T33" fmla="*/ 519 h 860"/>
              <a:gd name="T34" fmla="*/ 308 w 598"/>
              <a:gd name="T35" fmla="*/ 388 h 860"/>
              <a:gd name="T36" fmla="*/ 347 w 598"/>
              <a:gd name="T37" fmla="*/ 394 h 860"/>
              <a:gd name="T38" fmla="*/ 386 w 598"/>
              <a:gd name="T39" fmla="*/ 388 h 860"/>
              <a:gd name="T40" fmla="*/ 459 w 598"/>
              <a:gd name="T41" fmla="*/ 586 h 860"/>
              <a:gd name="T42" fmla="*/ 347 w 598"/>
              <a:gd name="T43" fmla="*/ 607 h 860"/>
              <a:gd name="T44" fmla="*/ 72 w 598"/>
              <a:gd name="T45" fmla="*/ 453 h 860"/>
              <a:gd name="T46" fmla="*/ 26 w 598"/>
              <a:gd name="T47" fmla="*/ 440 h 860"/>
              <a:gd name="T48" fmla="*/ 11 w 598"/>
              <a:gd name="T49" fmla="*/ 491 h 860"/>
              <a:gd name="T50" fmla="*/ 145 w 598"/>
              <a:gd name="T51" fmla="*/ 623 h 860"/>
              <a:gd name="T52" fmla="*/ 96 w 598"/>
              <a:gd name="T53" fmla="*/ 752 h 860"/>
              <a:gd name="T54" fmla="*/ 134 w 598"/>
              <a:gd name="T55" fmla="*/ 860 h 860"/>
              <a:gd name="T56" fmla="*/ 210 w 598"/>
              <a:gd name="T57" fmla="*/ 654 h 860"/>
              <a:gd name="T58" fmla="*/ 347 w 598"/>
              <a:gd name="T59" fmla="*/ 679 h 860"/>
              <a:gd name="T60" fmla="*/ 483 w 598"/>
              <a:gd name="T61" fmla="*/ 653 h 860"/>
              <a:gd name="T62" fmla="*/ 560 w 598"/>
              <a:gd name="T63" fmla="*/ 860 h 860"/>
              <a:gd name="T64" fmla="*/ 598 w 598"/>
              <a:gd name="T65" fmla="*/ 752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98" h="860">
                <a:moveTo>
                  <a:pt x="275" y="251"/>
                </a:moveTo>
                <a:cubicBezTo>
                  <a:pt x="275" y="211"/>
                  <a:pt x="307" y="179"/>
                  <a:pt x="347" y="179"/>
                </a:cubicBezTo>
                <a:cubicBezTo>
                  <a:pt x="386" y="179"/>
                  <a:pt x="419" y="211"/>
                  <a:pt x="419" y="251"/>
                </a:cubicBezTo>
                <a:cubicBezTo>
                  <a:pt x="419" y="290"/>
                  <a:pt x="386" y="322"/>
                  <a:pt x="347" y="322"/>
                </a:cubicBezTo>
                <a:cubicBezTo>
                  <a:pt x="307" y="322"/>
                  <a:pt x="275" y="290"/>
                  <a:pt x="275" y="251"/>
                </a:cubicBezTo>
                <a:close/>
                <a:moveTo>
                  <a:pt x="598" y="752"/>
                </a:moveTo>
                <a:lnTo>
                  <a:pt x="449" y="352"/>
                </a:lnTo>
                <a:cubicBezTo>
                  <a:pt x="474" y="326"/>
                  <a:pt x="490" y="290"/>
                  <a:pt x="490" y="251"/>
                </a:cubicBezTo>
                <a:cubicBezTo>
                  <a:pt x="490" y="184"/>
                  <a:pt x="444" y="129"/>
                  <a:pt x="383" y="113"/>
                </a:cubicBezTo>
                <a:lnTo>
                  <a:pt x="383" y="36"/>
                </a:lnTo>
                <a:cubicBezTo>
                  <a:pt x="383" y="16"/>
                  <a:pt x="367" y="0"/>
                  <a:pt x="347" y="0"/>
                </a:cubicBezTo>
                <a:cubicBezTo>
                  <a:pt x="327" y="0"/>
                  <a:pt x="311" y="16"/>
                  <a:pt x="311" y="36"/>
                </a:cubicBezTo>
                <a:lnTo>
                  <a:pt x="311" y="113"/>
                </a:lnTo>
                <a:cubicBezTo>
                  <a:pt x="250" y="129"/>
                  <a:pt x="204" y="184"/>
                  <a:pt x="204" y="251"/>
                </a:cubicBezTo>
                <a:cubicBezTo>
                  <a:pt x="204" y="290"/>
                  <a:pt x="220" y="326"/>
                  <a:pt x="245" y="352"/>
                </a:cubicBezTo>
                <a:lnTo>
                  <a:pt x="196" y="485"/>
                </a:lnTo>
                <a:cubicBezTo>
                  <a:pt x="216" y="499"/>
                  <a:pt x="237" y="511"/>
                  <a:pt x="260" y="519"/>
                </a:cubicBezTo>
                <a:lnTo>
                  <a:pt x="308" y="388"/>
                </a:lnTo>
                <a:cubicBezTo>
                  <a:pt x="321" y="392"/>
                  <a:pt x="333" y="394"/>
                  <a:pt x="347" y="394"/>
                </a:cubicBezTo>
                <a:cubicBezTo>
                  <a:pt x="361" y="394"/>
                  <a:pt x="373" y="392"/>
                  <a:pt x="386" y="388"/>
                </a:cubicBezTo>
                <a:lnTo>
                  <a:pt x="459" y="586"/>
                </a:lnTo>
                <a:cubicBezTo>
                  <a:pt x="423" y="599"/>
                  <a:pt x="386" y="607"/>
                  <a:pt x="347" y="607"/>
                </a:cubicBezTo>
                <a:cubicBezTo>
                  <a:pt x="233" y="607"/>
                  <a:pt x="130" y="549"/>
                  <a:pt x="72" y="453"/>
                </a:cubicBezTo>
                <a:cubicBezTo>
                  <a:pt x="63" y="438"/>
                  <a:pt x="43" y="432"/>
                  <a:pt x="26" y="440"/>
                </a:cubicBezTo>
                <a:cubicBezTo>
                  <a:pt x="7" y="449"/>
                  <a:pt x="0" y="473"/>
                  <a:pt x="11" y="491"/>
                </a:cubicBezTo>
                <a:cubicBezTo>
                  <a:pt x="45" y="547"/>
                  <a:pt x="92" y="591"/>
                  <a:pt x="145" y="623"/>
                </a:cubicBezTo>
                <a:lnTo>
                  <a:pt x="96" y="752"/>
                </a:lnTo>
                <a:lnTo>
                  <a:pt x="134" y="860"/>
                </a:lnTo>
                <a:lnTo>
                  <a:pt x="210" y="654"/>
                </a:lnTo>
                <a:cubicBezTo>
                  <a:pt x="253" y="670"/>
                  <a:pt x="299" y="679"/>
                  <a:pt x="347" y="679"/>
                </a:cubicBezTo>
                <a:cubicBezTo>
                  <a:pt x="394" y="679"/>
                  <a:pt x="440" y="669"/>
                  <a:pt x="483" y="653"/>
                </a:cubicBezTo>
                <a:lnTo>
                  <a:pt x="560" y="860"/>
                </a:lnTo>
                <a:lnTo>
                  <a:pt x="598" y="75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0" name="Freeform 48"/>
          <p:cNvSpPr>
            <a:spLocks noEditPoints="1"/>
          </p:cNvSpPr>
          <p:nvPr/>
        </p:nvSpPr>
        <p:spPr bwMode="auto">
          <a:xfrm>
            <a:off x="5065986" y="538051"/>
            <a:ext cx="582575" cy="564285"/>
          </a:xfrm>
          <a:custGeom>
            <a:avLst/>
            <a:gdLst>
              <a:gd name="T0" fmla="*/ 388 w 848"/>
              <a:gd name="T1" fmla="*/ 486 h 821"/>
              <a:gd name="T2" fmla="*/ 291 w 848"/>
              <a:gd name="T3" fmla="*/ 583 h 821"/>
              <a:gd name="T4" fmla="*/ 342 w 848"/>
              <a:gd name="T5" fmla="*/ 634 h 821"/>
              <a:gd name="T6" fmla="*/ 460 w 848"/>
              <a:gd name="T7" fmla="*/ 516 h 821"/>
              <a:gd name="T8" fmla="*/ 460 w 848"/>
              <a:gd name="T9" fmla="*/ 267 h 821"/>
              <a:gd name="T10" fmla="*/ 388 w 848"/>
              <a:gd name="T11" fmla="*/ 267 h 821"/>
              <a:gd name="T12" fmla="*/ 388 w 848"/>
              <a:gd name="T13" fmla="*/ 486 h 821"/>
              <a:gd name="T14" fmla="*/ 172 w 848"/>
              <a:gd name="T15" fmla="*/ 118 h 821"/>
              <a:gd name="T16" fmla="*/ 259 w 848"/>
              <a:gd name="T17" fmla="*/ 69 h 821"/>
              <a:gd name="T18" fmla="*/ 231 w 848"/>
              <a:gd name="T19" fmla="*/ 3 h 821"/>
              <a:gd name="T20" fmla="*/ 130 w 848"/>
              <a:gd name="T21" fmla="*/ 60 h 821"/>
              <a:gd name="T22" fmla="*/ 0 w 848"/>
              <a:gd name="T23" fmla="*/ 195 h 821"/>
              <a:gd name="T24" fmla="*/ 60 w 848"/>
              <a:gd name="T25" fmla="*/ 234 h 821"/>
              <a:gd name="T26" fmla="*/ 172 w 848"/>
              <a:gd name="T27" fmla="*/ 118 h 821"/>
              <a:gd name="T28" fmla="*/ 719 w 848"/>
              <a:gd name="T29" fmla="*/ 57 h 821"/>
              <a:gd name="T30" fmla="*/ 617 w 848"/>
              <a:gd name="T31" fmla="*/ 0 h 821"/>
              <a:gd name="T32" fmla="*/ 590 w 848"/>
              <a:gd name="T33" fmla="*/ 66 h 821"/>
              <a:gd name="T34" fmla="*/ 677 w 848"/>
              <a:gd name="T35" fmla="*/ 115 h 821"/>
              <a:gd name="T36" fmla="*/ 788 w 848"/>
              <a:gd name="T37" fmla="*/ 234 h 821"/>
              <a:gd name="T38" fmla="*/ 848 w 848"/>
              <a:gd name="T39" fmla="*/ 196 h 821"/>
              <a:gd name="T40" fmla="*/ 719 w 848"/>
              <a:gd name="T41" fmla="*/ 57 h 821"/>
              <a:gd name="T42" fmla="*/ 424 w 848"/>
              <a:gd name="T43" fmla="*/ 749 h 821"/>
              <a:gd name="T44" fmla="*/ 138 w 848"/>
              <a:gd name="T45" fmla="*/ 463 h 821"/>
              <a:gd name="T46" fmla="*/ 424 w 848"/>
              <a:gd name="T47" fmla="*/ 176 h 821"/>
              <a:gd name="T48" fmla="*/ 711 w 848"/>
              <a:gd name="T49" fmla="*/ 463 h 821"/>
              <a:gd name="T50" fmla="*/ 424 w 848"/>
              <a:gd name="T51" fmla="*/ 749 h 821"/>
              <a:gd name="T52" fmla="*/ 424 w 848"/>
              <a:gd name="T53" fmla="*/ 105 h 821"/>
              <a:gd name="T54" fmla="*/ 66 w 848"/>
              <a:gd name="T55" fmla="*/ 463 h 821"/>
              <a:gd name="T56" fmla="*/ 424 w 848"/>
              <a:gd name="T57" fmla="*/ 821 h 821"/>
              <a:gd name="T58" fmla="*/ 782 w 848"/>
              <a:gd name="T59" fmla="*/ 463 h 821"/>
              <a:gd name="T60" fmla="*/ 424 w 848"/>
              <a:gd name="T61" fmla="*/ 105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848" h="821">
                <a:moveTo>
                  <a:pt x="388" y="486"/>
                </a:moveTo>
                <a:lnTo>
                  <a:pt x="291" y="583"/>
                </a:lnTo>
                <a:lnTo>
                  <a:pt x="342" y="634"/>
                </a:lnTo>
                <a:lnTo>
                  <a:pt x="460" y="516"/>
                </a:lnTo>
                <a:lnTo>
                  <a:pt x="460" y="267"/>
                </a:lnTo>
                <a:lnTo>
                  <a:pt x="388" y="267"/>
                </a:lnTo>
                <a:lnTo>
                  <a:pt x="388" y="486"/>
                </a:lnTo>
                <a:close/>
                <a:moveTo>
                  <a:pt x="172" y="118"/>
                </a:moveTo>
                <a:cubicBezTo>
                  <a:pt x="199" y="98"/>
                  <a:pt x="228" y="82"/>
                  <a:pt x="259" y="69"/>
                </a:cubicBezTo>
                <a:lnTo>
                  <a:pt x="231" y="3"/>
                </a:lnTo>
                <a:cubicBezTo>
                  <a:pt x="195" y="18"/>
                  <a:pt x="161" y="37"/>
                  <a:pt x="130" y="60"/>
                </a:cubicBezTo>
                <a:cubicBezTo>
                  <a:pt x="76" y="98"/>
                  <a:pt x="33" y="144"/>
                  <a:pt x="0" y="195"/>
                </a:cubicBezTo>
                <a:lnTo>
                  <a:pt x="60" y="234"/>
                </a:lnTo>
                <a:cubicBezTo>
                  <a:pt x="89" y="190"/>
                  <a:pt x="126" y="151"/>
                  <a:pt x="172" y="118"/>
                </a:cubicBezTo>
                <a:close/>
                <a:moveTo>
                  <a:pt x="719" y="57"/>
                </a:moveTo>
                <a:cubicBezTo>
                  <a:pt x="687" y="34"/>
                  <a:pt x="653" y="15"/>
                  <a:pt x="617" y="0"/>
                </a:cubicBezTo>
                <a:lnTo>
                  <a:pt x="590" y="66"/>
                </a:lnTo>
                <a:cubicBezTo>
                  <a:pt x="620" y="79"/>
                  <a:pt x="650" y="95"/>
                  <a:pt x="677" y="115"/>
                </a:cubicBezTo>
                <a:cubicBezTo>
                  <a:pt x="721" y="147"/>
                  <a:pt x="758" y="187"/>
                  <a:pt x="788" y="234"/>
                </a:cubicBezTo>
                <a:lnTo>
                  <a:pt x="848" y="196"/>
                </a:lnTo>
                <a:cubicBezTo>
                  <a:pt x="814" y="141"/>
                  <a:pt x="770" y="95"/>
                  <a:pt x="719" y="57"/>
                </a:cubicBezTo>
                <a:close/>
                <a:moveTo>
                  <a:pt x="424" y="749"/>
                </a:moveTo>
                <a:cubicBezTo>
                  <a:pt x="266" y="749"/>
                  <a:pt x="138" y="621"/>
                  <a:pt x="138" y="463"/>
                </a:cubicBezTo>
                <a:cubicBezTo>
                  <a:pt x="138" y="305"/>
                  <a:pt x="266" y="176"/>
                  <a:pt x="424" y="176"/>
                </a:cubicBezTo>
                <a:cubicBezTo>
                  <a:pt x="582" y="176"/>
                  <a:pt x="711" y="305"/>
                  <a:pt x="711" y="463"/>
                </a:cubicBezTo>
                <a:cubicBezTo>
                  <a:pt x="711" y="621"/>
                  <a:pt x="582" y="749"/>
                  <a:pt x="424" y="749"/>
                </a:cubicBezTo>
                <a:close/>
                <a:moveTo>
                  <a:pt x="424" y="105"/>
                </a:moveTo>
                <a:cubicBezTo>
                  <a:pt x="227" y="105"/>
                  <a:pt x="66" y="265"/>
                  <a:pt x="66" y="463"/>
                </a:cubicBezTo>
                <a:cubicBezTo>
                  <a:pt x="66" y="660"/>
                  <a:pt x="227" y="821"/>
                  <a:pt x="424" y="821"/>
                </a:cubicBezTo>
                <a:cubicBezTo>
                  <a:pt x="622" y="821"/>
                  <a:pt x="782" y="660"/>
                  <a:pt x="782" y="463"/>
                </a:cubicBezTo>
                <a:cubicBezTo>
                  <a:pt x="782" y="265"/>
                  <a:pt x="622" y="105"/>
                  <a:pt x="424" y="10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1" name="Freeform 49"/>
          <p:cNvSpPr>
            <a:spLocks noEditPoints="1"/>
          </p:cNvSpPr>
          <p:nvPr/>
        </p:nvSpPr>
        <p:spPr bwMode="auto">
          <a:xfrm>
            <a:off x="3645588" y="524545"/>
            <a:ext cx="471465" cy="591300"/>
          </a:xfrm>
          <a:custGeom>
            <a:avLst/>
            <a:gdLst>
              <a:gd name="T0" fmla="*/ 358 w 687"/>
              <a:gd name="T1" fmla="*/ 718 h 859"/>
              <a:gd name="T2" fmla="*/ 170 w 687"/>
              <a:gd name="T3" fmla="*/ 456 h 859"/>
              <a:gd name="T4" fmla="*/ 170 w 687"/>
              <a:gd name="T5" fmla="*/ 456 h 859"/>
              <a:gd name="T6" fmla="*/ 154 w 687"/>
              <a:gd name="T7" fmla="*/ 439 h 859"/>
              <a:gd name="T8" fmla="*/ 154 w 687"/>
              <a:gd name="T9" fmla="*/ 439 h 859"/>
              <a:gd name="T10" fmla="*/ 72 w 687"/>
              <a:gd name="T11" fmla="*/ 322 h 859"/>
              <a:gd name="T12" fmla="*/ 144 w 687"/>
              <a:gd name="T13" fmla="*/ 250 h 859"/>
              <a:gd name="T14" fmla="*/ 204 w 687"/>
              <a:gd name="T15" fmla="*/ 361 h 859"/>
              <a:gd name="T16" fmla="*/ 194 w 687"/>
              <a:gd name="T17" fmla="*/ 376 h 859"/>
              <a:gd name="T18" fmla="*/ 235 w 687"/>
              <a:gd name="T19" fmla="*/ 421 h 859"/>
              <a:gd name="T20" fmla="*/ 428 w 687"/>
              <a:gd name="T21" fmla="*/ 313 h 859"/>
              <a:gd name="T22" fmla="*/ 358 w 687"/>
              <a:gd name="T23" fmla="*/ 718 h 859"/>
              <a:gd name="T24" fmla="*/ 466 w 687"/>
              <a:gd name="T25" fmla="*/ 71 h 859"/>
              <a:gd name="T26" fmla="*/ 530 w 687"/>
              <a:gd name="T27" fmla="*/ 175 h 859"/>
              <a:gd name="T28" fmla="*/ 286 w 687"/>
              <a:gd name="T29" fmla="*/ 310 h 859"/>
              <a:gd name="T30" fmla="*/ 217 w 687"/>
              <a:gd name="T31" fmla="*/ 199 h 859"/>
              <a:gd name="T32" fmla="*/ 466 w 687"/>
              <a:gd name="T33" fmla="*/ 71 h 859"/>
              <a:gd name="T34" fmla="*/ 493 w 687"/>
              <a:gd name="T35" fmla="*/ 277 h 859"/>
              <a:gd name="T36" fmla="*/ 581 w 687"/>
              <a:gd name="T37" fmla="*/ 228 h 859"/>
              <a:gd name="T38" fmla="*/ 466 w 687"/>
              <a:gd name="T39" fmla="*/ 0 h 859"/>
              <a:gd name="T40" fmla="*/ 396 w 687"/>
              <a:gd name="T41" fmla="*/ 17 h 859"/>
              <a:gd name="T42" fmla="*/ 74 w 687"/>
              <a:gd name="T43" fmla="*/ 197 h 859"/>
              <a:gd name="T44" fmla="*/ 74 w 687"/>
              <a:gd name="T45" fmla="*/ 197 h 859"/>
              <a:gd name="T46" fmla="*/ 0 w 687"/>
              <a:gd name="T47" fmla="*/ 322 h 859"/>
              <a:gd name="T48" fmla="*/ 38 w 687"/>
              <a:gd name="T49" fmla="*/ 419 h 859"/>
              <a:gd name="T50" fmla="*/ 85 w 687"/>
              <a:gd name="T51" fmla="*/ 469 h 859"/>
              <a:gd name="T52" fmla="*/ 254 w 687"/>
              <a:gd name="T53" fmla="*/ 652 h 859"/>
              <a:gd name="T54" fmla="*/ 287 w 687"/>
              <a:gd name="T55" fmla="*/ 716 h 859"/>
              <a:gd name="T56" fmla="*/ 250 w 687"/>
              <a:gd name="T57" fmla="*/ 778 h 859"/>
              <a:gd name="T58" fmla="*/ 250 w 687"/>
              <a:gd name="T59" fmla="*/ 778 h 859"/>
              <a:gd name="T60" fmla="*/ 167 w 687"/>
              <a:gd name="T61" fmla="*/ 664 h 859"/>
              <a:gd name="T62" fmla="*/ 118 w 687"/>
              <a:gd name="T63" fmla="*/ 611 h 859"/>
              <a:gd name="T64" fmla="*/ 215 w 687"/>
              <a:gd name="T65" fmla="*/ 859 h 859"/>
              <a:gd name="T66" fmla="*/ 285 w 687"/>
              <a:gd name="T67" fmla="*/ 841 h 859"/>
              <a:gd name="T68" fmla="*/ 285 w 687"/>
              <a:gd name="T69" fmla="*/ 841 h 859"/>
              <a:gd name="T70" fmla="*/ 607 w 687"/>
              <a:gd name="T71" fmla="*/ 662 h 859"/>
              <a:gd name="T72" fmla="*/ 681 w 687"/>
              <a:gd name="T73" fmla="*/ 537 h 859"/>
              <a:gd name="T74" fmla="*/ 493 w 687"/>
              <a:gd name="T75" fmla="*/ 277 h 8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687" h="859">
                <a:moveTo>
                  <a:pt x="358" y="718"/>
                </a:moveTo>
                <a:cubicBezTo>
                  <a:pt x="359" y="645"/>
                  <a:pt x="329" y="628"/>
                  <a:pt x="170" y="456"/>
                </a:cubicBezTo>
                <a:lnTo>
                  <a:pt x="170" y="456"/>
                </a:lnTo>
                <a:lnTo>
                  <a:pt x="154" y="439"/>
                </a:lnTo>
                <a:lnTo>
                  <a:pt x="154" y="439"/>
                </a:lnTo>
                <a:cubicBezTo>
                  <a:pt x="89" y="368"/>
                  <a:pt x="72" y="358"/>
                  <a:pt x="72" y="322"/>
                </a:cubicBezTo>
                <a:cubicBezTo>
                  <a:pt x="72" y="281"/>
                  <a:pt x="105" y="250"/>
                  <a:pt x="144" y="250"/>
                </a:cubicBezTo>
                <a:cubicBezTo>
                  <a:pt x="200" y="250"/>
                  <a:pt x="235" y="312"/>
                  <a:pt x="204" y="361"/>
                </a:cubicBezTo>
                <a:lnTo>
                  <a:pt x="194" y="376"/>
                </a:lnTo>
                <a:lnTo>
                  <a:pt x="235" y="421"/>
                </a:lnTo>
                <a:lnTo>
                  <a:pt x="428" y="313"/>
                </a:lnTo>
                <a:cubicBezTo>
                  <a:pt x="681" y="586"/>
                  <a:pt x="687" y="535"/>
                  <a:pt x="358" y="718"/>
                </a:cubicBezTo>
                <a:close/>
                <a:moveTo>
                  <a:pt x="466" y="71"/>
                </a:moveTo>
                <a:cubicBezTo>
                  <a:pt x="518" y="71"/>
                  <a:pt x="554" y="126"/>
                  <a:pt x="530" y="175"/>
                </a:cubicBezTo>
                <a:lnTo>
                  <a:pt x="286" y="310"/>
                </a:lnTo>
                <a:cubicBezTo>
                  <a:pt x="282" y="263"/>
                  <a:pt x="256" y="222"/>
                  <a:pt x="217" y="199"/>
                </a:cubicBezTo>
                <a:cubicBezTo>
                  <a:pt x="436" y="78"/>
                  <a:pt x="437" y="71"/>
                  <a:pt x="466" y="71"/>
                </a:cubicBezTo>
                <a:close/>
                <a:moveTo>
                  <a:pt x="493" y="277"/>
                </a:moveTo>
                <a:lnTo>
                  <a:pt x="581" y="228"/>
                </a:lnTo>
                <a:cubicBezTo>
                  <a:pt x="655" y="113"/>
                  <a:pt x="568" y="0"/>
                  <a:pt x="466" y="0"/>
                </a:cubicBezTo>
                <a:cubicBezTo>
                  <a:pt x="443" y="0"/>
                  <a:pt x="419" y="5"/>
                  <a:pt x="396" y="17"/>
                </a:cubicBezTo>
                <a:lnTo>
                  <a:pt x="74" y="197"/>
                </a:lnTo>
                <a:lnTo>
                  <a:pt x="74" y="197"/>
                </a:lnTo>
                <a:cubicBezTo>
                  <a:pt x="26" y="223"/>
                  <a:pt x="0" y="272"/>
                  <a:pt x="0" y="322"/>
                </a:cubicBezTo>
                <a:cubicBezTo>
                  <a:pt x="0" y="356"/>
                  <a:pt x="13" y="391"/>
                  <a:pt x="38" y="419"/>
                </a:cubicBezTo>
                <a:lnTo>
                  <a:pt x="85" y="469"/>
                </a:lnTo>
                <a:lnTo>
                  <a:pt x="254" y="652"/>
                </a:lnTo>
                <a:cubicBezTo>
                  <a:pt x="273" y="673"/>
                  <a:pt x="287" y="685"/>
                  <a:pt x="287" y="716"/>
                </a:cubicBezTo>
                <a:cubicBezTo>
                  <a:pt x="287" y="743"/>
                  <a:pt x="272" y="766"/>
                  <a:pt x="250" y="778"/>
                </a:cubicBezTo>
                <a:lnTo>
                  <a:pt x="250" y="778"/>
                </a:lnTo>
                <a:cubicBezTo>
                  <a:pt x="177" y="819"/>
                  <a:pt x="105" y="721"/>
                  <a:pt x="167" y="664"/>
                </a:cubicBezTo>
                <a:lnTo>
                  <a:pt x="118" y="611"/>
                </a:lnTo>
                <a:cubicBezTo>
                  <a:pt x="18" y="704"/>
                  <a:pt x="96" y="859"/>
                  <a:pt x="215" y="859"/>
                </a:cubicBezTo>
                <a:cubicBezTo>
                  <a:pt x="237" y="859"/>
                  <a:pt x="261" y="853"/>
                  <a:pt x="285" y="841"/>
                </a:cubicBezTo>
                <a:lnTo>
                  <a:pt x="285" y="841"/>
                </a:lnTo>
                <a:lnTo>
                  <a:pt x="607" y="662"/>
                </a:lnTo>
                <a:cubicBezTo>
                  <a:pt x="652" y="637"/>
                  <a:pt x="681" y="589"/>
                  <a:pt x="681" y="537"/>
                </a:cubicBezTo>
                <a:cubicBezTo>
                  <a:pt x="681" y="464"/>
                  <a:pt x="647" y="444"/>
                  <a:pt x="493" y="27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4" name="Freeform 52"/>
          <p:cNvSpPr>
            <a:spLocks noEditPoints="1"/>
          </p:cNvSpPr>
          <p:nvPr/>
        </p:nvSpPr>
        <p:spPr bwMode="auto">
          <a:xfrm>
            <a:off x="6540438" y="1780680"/>
            <a:ext cx="576567" cy="594301"/>
          </a:xfrm>
          <a:custGeom>
            <a:avLst/>
            <a:gdLst>
              <a:gd name="T0" fmla="*/ 179 w 839"/>
              <a:gd name="T1" fmla="*/ 143 h 860"/>
              <a:gd name="T2" fmla="*/ 609 w 839"/>
              <a:gd name="T3" fmla="*/ 143 h 860"/>
              <a:gd name="T4" fmla="*/ 609 w 839"/>
              <a:gd name="T5" fmla="*/ 269 h 860"/>
              <a:gd name="T6" fmla="*/ 474 w 839"/>
              <a:gd name="T7" fmla="*/ 383 h 860"/>
              <a:gd name="T8" fmla="*/ 526 w 839"/>
              <a:gd name="T9" fmla="*/ 440 h 860"/>
              <a:gd name="T10" fmla="*/ 839 w 839"/>
              <a:gd name="T11" fmla="*/ 208 h 860"/>
              <a:gd name="T12" fmla="*/ 781 w 839"/>
              <a:gd name="T13" fmla="*/ 151 h 860"/>
              <a:gd name="T14" fmla="*/ 680 w 839"/>
              <a:gd name="T15" fmla="*/ 215 h 860"/>
              <a:gd name="T16" fmla="*/ 680 w 839"/>
              <a:gd name="T17" fmla="*/ 72 h 860"/>
              <a:gd name="T18" fmla="*/ 430 w 839"/>
              <a:gd name="T19" fmla="*/ 72 h 860"/>
              <a:gd name="T20" fmla="*/ 430 w 839"/>
              <a:gd name="T21" fmla="*/ 0 h 860"/>
              <a:gd name="T22" fmla="*/ 358 w 839"/>
              <a:gd name="T23" fmla="*/ 0 h 860"/>
              <a:gd name="T24" fmla="*/ 358 w 839"/>
              <a:gd name="T25" fmla="*/ 72 h 860"/>
              <a:gd name="T26" fmla="*/ 107 w 839"/>
              <a:gd name="T27" fmla="*/ 72 h 860"/>
              <a:gd name="T28" fmla="*/ 107 w 839"/>
              <a:gd name="T29" fmla="*/ 537 h 860"/>
              <a:gd name="T30" fmla="*/ 179 w 839"/>
              <a:gd name="T31" fmla="*/ 537 h 860"/>
              <a:gd name="T32" fmla="*/ 179 w 839"/>
              <a:gd name="T33" fmla="*/ 143 h 860"/>
              <a:gd name="T34" fmla="*/ 680 w 839"/>
              <a:gd name="T35" fmla="*/ 537 h 860"/>
              <a:gd name="T36" fmla="*/ 680 w 839"/>
              <a:gd name="T37" fmla="*/ 393 h 860"/>
              <a:gd name="T38" fmla="*/ 609 w 839"/>
              <a:gd name="T39" fmla="*/ 447 h 860"/>
              <a:gd name="T40" fmla="*/ 609 w 839"/>
              <a:gd name="T41" fmla="*/ 537 h 860"/>
              <a:gd name="T42" fmla="*/ 680 w 839"/>
              <a:gd name="T43" fmla="*/ 537 h 860"/>
              <a:gd name="T44" fmla="*/ 371 w 839"/>
              <a:gd name="T45" fmla="*/ 473 h 860"/>
              <a:gd name="T46" fmla="*/ 414 w 839"/>
              <a:gd name="T47" fmla="*/ 530 h 860"/>
              <a:gd name="T48" fmla="*/ 506 w 839"/>
              <a:gd name="T49" fmla="*/ 461 h 860"/>
              <a:gd name="T50" fmla="*/ 463 w 839"/>
              <a:gd name="T51" fmla="*/ 404 h 860"/>
              <a:gd name="T52" fmla="*/ 371 w 839"/>
              <a:gd name="T53" fmla="*/ 473 h 860"/>
              <a:gd name="T54" fmla="*/ 0 w 839"/>
              <a:gd name="T55" fmla="*/ 681 h 860"/>
              <a:gd name="T56" fmla="*/ 233 w 839"/>
              <a:gd name="T57" fmla="*/ 681 h 860"/>
              <a:gd name="T58" fmla="*/ 166 w 839"/>
              <a:gd name="T59" fmla="*/ 860 h 860"/>
              <a:gd name="T60" fmla="*/ 243 w 839"/>
              <a:gd name="T61" fmla="*/ 860 h 860"/>
              <a:gd name="T62" fmla="*/ 310 w 839"/>
              <a:gd name="T63" fmla="*/ 681 h 860"/>
              <a:gd name="T64" fmla="*/ 358 w 839"/>
              <a:gd name="T65" fmla="*/ 681 h 860"/>
              <a:gd name="T66" fmla="*/ 358 w 839"/>
              <a:gd name="T67" fmla="*/ 860 h 860"/>
              <a:gd name="T68" fmla="*/ 430 w 839"/>
              <a:gd name="T69" fmla="*/ 860 h 860"/>
              <a:gd name="T70" fmla="*/ 430 w 839"/>
              <a:gd name="T71" fmla="*/ 681 h 860"/>
              <a:gd name="T72" fmla="*/ 547 w 839"/>
              <a:gd name="T73" fmla="*/ 681 h 860"/>
              <a:gd name="T74" fmla="*/ 614 w 839"/>
              <a:gd name="T75" fmla="*/ 860 h 860"/>
              <a:gd name="T76" fmla="*/ 690 w 839"/>
              <a:gd name="T77" fmla="*/ 860 h 860"/>
              <a:gd name="T78" fmla="*/ 623 w 839"/>
              <a:gd name="T79" fmla="*/ 681 h 860"/>
              <a:gd name="T80" fmla="*/ 788 w 839"/>
              <a:gd name="T81" fmla="*/ 681 h 860"/>
              <a:gd name="T82" fmla="*/ 788 w 839"/>
              <a:gd name="T83" fmla="*/ 609 h 860"/>
              <a:gd name="T84" fmla="*/ 0 w 839"/>
              <a:gd name="T85" fmla="*/ 609 h 860"/>
              <a:gd name="T86" fmla="*/ 0 w 839"/>
              <a:gd name="T87" fmla="*/ 681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39" h="860">
                <a:moveTo>
                  <a:pt x="179" y="143"/>
                </a:moveTo>
                <a:lnTo>
                  <a:pt x="609" y="143"/>
                </a:lnTo>
                <a:lnTo>
                  <a:pt x="609" y="269"/>
                </a:lnTo>
                <a:lnTo>
                  <a:pt x="474" y="383"/>
                </a:lnTo>
                <a:lnTo>
                  <a:pt x="526" y="440"/>
                </a:lnTo>
                <a:lnTo>
                  <a:pt x="839" y="208"/>
                </a:lnTo>
                <a:lnTo>
                  <a:pt x="781" y="151"/>
                </a:lnTo>
                <a:lnTo>
                  <a:pt x="680" y="215"/>
                </a:lnTo>
                <a:lnTo>
                  <a:pt x="680" y="72"/>
                </a:lnTo>
                <a:lnTo>
                  <a:pt x="430" y="72"/>
                </a:lnTo>
                <a:lnTo>
                  <a:pt x="430" y="0"/>
                </a:lnTo>
                <a:lnTo>
                  <a:pt x="358" y="0"/>
                </a:lnTo>
                <a:lnTo>
                  <a:pt x="358" y="72"/>
                </a:lnTo>
                <a:lnTo>
                  <a:pt x="107" y="72"/>
                </a:lnTo>
                <a:lnTo>
                  <a:pt x="107" y="537"/>
                </a:lnTo>
                <a:lnTo>
                  <a:pt x="179" y="537"/>
                </a:lnTo>
                <a:lnTo>
                  <a:pt x="179" y="143"/>
                </a:lnTo>
                <a:close/>
                <a:moveTo>
                  <a:pt x="680" y="537"/>
                </a:moveTo>
                <a:lnTo>
                  <a:pt x="680" y="393"/>
                </a:lnTo>
                <a:lnTo>
                  <a:pt x="609" y="447"/>
                </a:lnTo>
                <a:lnTo>
                  <a:pt x="609" y="537"/>
                </a:lnTo>
                <a:lnTo>
                  <a:pt x="680" y="537"/>
                </a:lnTo>
                <a:close/>
                <a:moveTo>
                  <a:pt x="371" y="473"/>
                </a:moveTo>
                <a:lnTo>
                  <a:pt x="414" y="530"/>
                </a:lnTo>
                <a:lnTo>
                  <a:pt x="506" y="461"/>
                </a:lnTo>
                <a:lnTo>
                  <a:pt x="463" y="404"/>
                </a:lnTo>
                <a:lnTo>
                  <a:pt x="371" y="473"/>
                </a:lnTo>
                <a:close/>
                <a:moveTo>
                  <a:pt x="0" y="681"/>
                </a:moveTo>
                <a:lnTo>
                  <a:pt x="233" y="681"/>
                </a:lnTo>
                <a:lnTo>
                  <a:pt x="166" y="860"/>
                </a:lnTo>
                <a:lnTo>
                  <a:pt x="243" y="860"/>
                </a:lnTo>
                <a:lnTo>
                  <a:pt x="310" y="681"/>
                </a:lnTo>
                <a:lnTo>
                  <a:pt x="358" y="681"/>
                </a:lnTo>
                <a:lnTo>
                  <a:pt x="358" y="860"/>
                </a:lnTo>
                <a:lnTo>
                  <a:pt x="430" y="860"/>
                </a:lnTo>
                <a:lnTo>
                  <a:pt x="430" y="681"/>
                </a:lnTo>
                <a:lnTo>
                  <a:pt x="547" y="681"/>
                </a:lnTo>
                <a:lnTo>
                  <a:pt x="614" y="860"/>
                </a:lnTo>
                <a:lnTo>
                  <a:pt x="690" y="860"/>
                </a:lnTo>
                <a:lnTo>
                  <a:pt x="623" y="681"/>
                </a:lnTo>
                <a:lnTo>
                  <a:pt x="788" y="681"/>
                </a:lnTo>
                <a:lnTo>
                  <a:pt x="788" y="609"/>
                </a:lnTo>
                <a:lnTo>
                  <a:pt x="0" y="609"/>
                </a:lnTo>
                <a:lnTo>
                  <a:pt x="0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5" name="Freeform 53"/>
          <p:cNvSpPr>
            <a:spLocks noEditPoints="1"/>
          </p:cNvSpPr>
          <p:nvPr/>
        </p:nvSpPr>
        <p:spPr bwMode="auto">
          <a:xfrm>
            <a:off x="5050971" y="1810696"/>
            <a:ext cx="612604" cy="534269"/>
          </a:xfrm>
          <a:custGeom>
            <a:avLst/>
            <a:gdLst>
              <a:gd name="T0" fmla="*/ 408 w 888"/>
              <a:gd name="T1" fmla="*/ 61 h 777"/>
              <a:gd name="T2" fmla="*/ 337 w 888"/>
              <a:gd name="T3" fmla="*/ 61 h 777"/>
              <a:gd name="T4" fmla="*/ 337 w 888"/>
              <a:gd name="T5" fmla="*/ 539 h 777"/>
              <a:gd name="T6" fmla="*/ 408 w 888"/>
              <a:gd name="T7" fmla="*/ 556 h 777"/>
              <a:gd name="T8" fmla="*/ 408 w 888"/>
              <a:gd name="T9" fmla="*/ 61 h 777"/>
              <a:gd name="T10" fmla="*/ 552 w 888"/>
              <a:gd name="T11" fmla="*/ 61 h 777"/>
              <a:gd name="T12" fmla="*/ 480 w 888"/>
              <a:gd name="T13" fmla="*/ 61 h 777"/>
              <a:gd name="T14" fmla="*/ 480 w 888"/>
              <a:gd name="T15" fmla="*/ 556 h 777"/>
              <a:gd name="T16" fmla="*/ 552 w 888"/>
              <a:gd name="T17" fmla="*/ 539 h 777"/>
              <a:gd name="T18" fmla="*/ 552 w 888"/>
              <a:gd name="T19" fmla="*/ 61 h 777"/>
              <a:gd name="T20" fmla="*/ 829 w 888"/>
              <a:gd name="T21" fmla="*/ 27 h 777"/>
              <a:gd name="T22" fmla="*/ 734 w 888"/>
              <a:gd name="T23" fmla="*/ 5 h 777"/>
              <a:gd name="T24" fmla="*/ 652 w 888"/>
              <a:gd name="T25" fmla="*/ 56 h 777"/>
              <a:gd name="T26" fmla="*/ 696 w 888"/>
              <a:gd name="T27" fmla="*/ 357 h 777"/>
              <a:gd name="T28" fmla="*/ 634 w 888"/>
              <a:gd name="T29" fmla="*/ 526 h 777"/>
              <a:gd name="T30" fmla="*/ 444 w 888"/>
              <a:gd name="T31" fmla="*/ 595 h 777"/>
              <a:gd name="T32" fmla="*/ 254 w 888"/>
              <a:gd name="T33" fmla="*/ 526 h 777"/>
              <a:gd name="T34" fmla="*/ 193 w 888"/>
              <a:gd name="T35" fmla="*/ 357 h 777"/>
              <a:gd name="T36" fmla="*/ 237 w 888"/>
              <a:gd name="T37" fmla="*/ 57 h 777"/>
              <a:gd name="T38" fmla="*/ 155 w 888"/>
              <a:gd name="T39" fmla="*/ 5 h 777"/>
              <a:gd name="T40" fmla="*/ 60 w 888"/>
              <a:gd name="T41" fmla="*/ 27 h 777"/>
              <a:gd name="T42" fmla="*/ 35 w 888"/>
              <a:gd name="T43" fmla="*/ 179 h 777"/>
              <a:gd name="T44" fmla="*/ 92 w 888"/>
              <a:gd name="T45" fmla="*/ 216 h 777"/>
              <a:gd name="T46" fmla="*/ 134 w 888"/>
              <a:gd name="T47" fmla="*/ 189 h 777"/>
              <a:gd name="T48" fmla="*/ 107 w 888"/>
              <a:gd name="T49" fmla="*/ 146 h 777"/>
              <a:gd name="T50" fmla="*/ 93 w 888"/>
              <a:gd name="T51" fmla="*/ 137 h 777"/>
              <a:gd name="T52" fmla="*/ 102 w 888"/>
              <a:gd name="T53" fmla="*/ 85 h 777"/>
              <a:gd name="T54" fmla="*/ 143 w 888"/>
              <a:gd name="T55" fmla="*/ 76 h 777"/>
              <a:gd name="T56" fmla="*/ 179 w 888"/>
              <a:gd name="T57" fmla="*/ 99 h 777"/>
              <a:gd name="T58" fmla="*/ 130 w 888"/>
              <a:gd name="T59" fmla="*/ 321 h 777"/>
              <a:gd name="T60" fmla="*/ 122 w 888"/>
              <a:gd name="T61" fmla="*/ 330 h 777"/>
              <a:gd name="T62" fmla="*/ 122 w 888"/>
              <a:gd name="T63" fmla="*/ 341 h 777"/>
              <a:gd name="T64" fmla="*/ 202 w 888"/>
              <a:gd name="T65" fmla="*/ 575 h 777"/>
              <a:gd name="T66" fmla="*/ 445 w 888"/>
              <a:gd name="T67" fmla="*/ 666 h 777"/>
              <a:gd name="T68" fmla="*/ 687 w 888"/>
              <a:gd name="T69" fmla="*/ 575 h 777"/>
              <a:gd name="T70" fmla="*/ 767 w 888"/>
              <a:gd name="T71" fmla="*/ 341 h 777"/>
              <a:gd name="T72" fmla="*/ 766 w 888"/>
              <a:gd name="T73" fmla="*/ 330 h 777"/>
              <a:gd name="T74" fmla="*/ 759 w 888"/>
              <a:gd name="T75" fmla="*/ 321 h 777"/>
              <a:gd name="T76" fmla="*/ 710 w 888"/>
              <a:gd name="T77" fmla="*/ 98 h 777"/>
              <a:gd name="T78" fmla="*/ 746 w 888"/>
              <a:gd name="T79" fmla="*/ 76 h 777"/>
              <a:gd name="T80" fmla="*/ 787 w 888"/>
              <a:gd name="T81" fmla="*/ 85 h 777"/>
              <a:gd name="T82" fmla="*/ 795 w 888"/>
              <a:gd name="T83" fmla="*/ 137 h 777"/>
              <a:gd name="T84" fmla="*/ 782 w 888"/>
              <a:gd name="T85" fmla="*/ 146 h 777"/>
              <a:gd name="T86" fmla="*/ 754 w 888"/>
              <a:gd name="T87" fmla="*/ 189 h 777"/>
              <a:gd name="T88" fmla="*/ 797 w 888"/>
              <a:gd name="T89" fmla="*/ 216 h 777"/>
              <a:gd name="T90" fmla="*/ 854 w 888"/>
              <a:gd name="T91" fmla="*/ 179 h 777"/>
              <a:gd name="T92" fmla="*/ 829 w 888"/>
              <a:gd name="T93" fmla="*/ 27 h 777"/>
              <a:gd name="T94" fmla="*/ 301 w 888"/>
              <a:gd name="T95" fmla="*/ 777 h 777"/>
              <a:gd name="T96" fmla="*/ 587 w 888"/>
              <a:gd name="T97" fmla="*/ 777 h 777"/>
              <a:gd name="T98" fmla="*/ 587 w 888"/>
              <a:gd name="T99" fmla="*/ 705 h 777"/>
              <a:gd name="T100" fmla="*/ 301 w 888"/>
              <a:gd name="T101" fmla="*/ 705 h 777"/>
              <a:gd name="T102" fmla="*/ 301 w 888"/>
              <a:gd name="T103" fmla="*/ 777 h 7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888" h="777">
                <a:moveTo>
                  <a:pt x="408" y="61"/>
                </a:moveTo>
                <a:lnTo>
                  <a:pt x="337" y="61"/>
                </a:lnTo>
                <a:lnTo>
                  <a:pt x="337" y="539"/>
                </a:lnTo>
                <a:cubicBezTo>
                  <a:pt x="372" y="548"/>
                  <a:pt x="372" y="554"/>
                  <a:pt x="408" y="556"/>
                </a:cubicBezTo>
                <a:lnTo>
                  <a:pt x="408" y="61"/>
                </a:lnTo>
                <a:close/>
                <a:moveTo>
                  <a:pt x="552" y="61"/>
                </a:moveTo>
                <a:lnTo>
                  <a:pt x="480" y="61"/>
                </a:lnTo>
                <a:lnTo>
                  <a:pt x="480" y="556"/>
                </a:lnTo>
                <a:cubicBezTo>
                  <a:pt x="516" y="554"/>
                  <a:pt x="516" y="548"/>
                  <a:pt x="552" y="539"/>
                </a:cubicBezTo>
                <a:lnTo>
                  <a:pt x="552" y="61"/>
                </a:lnTo>
                <a:close/>
                <a:moveTo>
                  <a:pt x="829" y="27"/>
                </a:moveTo>
                <a:cubicBezTo>
                  <a:pt x="801" y="8"/>
                  <a:pt x="768" y="0"/>
                  <a:pt x="734" y="5"/>
                </a:cubicBezTo>
                <a:cubicBezTo>
                  <a:pt x="700" y="11"/>
                  <a:pt x="671" y="29"/>
                  <a:pt x="652" y="56"/>
                </a:cubicBezTo>
                <a:cubicBezTo>
                  <a:pt x="591" y="139"/>
                  <a:pt x="637" y="279"/>
                  <a:pt x="696" y="357"/>
                </a:cubicBezTo>
                <a:cubicBezTo>
                  <a:pt x="695" y="386"/>
                  <a:pt x="689" y="468"/>
                  <a:pt x="634" y="526"/>
                </a:cubicBezTo>
                <a:cubicBezTo>
                  <a:pt x="592" y="572"/>
                  <a:pt x="528" y="595"/>
                  <a:pt x="444" y="595"/>
                </a:cubicBezTo>
                <a:cubicBezTo>
                  <a:pt x="361" y="595"/>
                  <a:pt x="297" y="572"/>
                  <a:pt x="254" y="526"/>
                </a:cubicBezTo>
                <a:cubicBezTo>
                  <a:pt x="199" y="468"/>
                  <a:pt x="193" y="385"/>
                  <a:pt x="193" y="357"/>
                </a:cubicBezTo>
                <a:cubicBezTo>
                  <a:pt x="252" y="279"/>
                  <a:pt x="298" y="139"/>
                  <a:pt x="237" y="57"/>
                </a:cubicBezTo>
                <a:cubicBezTo>
                  <a:pt x="217" y="29"/>
                  <a:pt x="188" y="11"/>
                  <a:pt x="155" y="5"/>
                </a:cubicBezTo>
                <a:cubicBezTo>
                  <a:pt x="121" y="0"/>
                  <a:pt x="87" y="8"/>
                  <a:pt x="60" y="27"/>
                </a:cubicBezTo>
                <a:cubicBezTo>
                  <a:pt x="11" y="63"/>
                  <a:pt x="0" y="130"/>
                  <a:pt x="35" y="179"/>
                </a:cubicBezTo>
                <a:cubicBezTo>
                  <a:pt x="49" y="198"/>
                  <a:pt x="69" y="212"/>
                  <a:pt x="92" y="216"/>
                </a:cubicBezTo>
                <a:cubicBezTo>
                  <a:pt x="111" y="220"/>
                  <a:pt x="130" y="208"/>
                  <a:pt x="134" y="189"/>
                </a:cubicBezTo>
                <a:cubicBezTo>
                  <a:pt x="138" y="169"/>
                  <a:pt x="126" y="150"/>
                  <a:pt x="107" y="146"/>
                </a:cubicBezTo>
                <a:cubicBezTo>
                  <a:pt x="101" y="145"/>
                  <a:pt x="96" y="142"/>
                  <a:pt x="93" y="137"/>
                </a:cubicBezTo>
                <a:cubicBezTo>
                  <a:pt x="81" y="121"/>
                  <a:pt x="85" y="97"/>
                  <a:pt x="102" y="85"/>
                </a:cubicBezTo>
                <a:cubicBezTo>
                  <a:pt x="114" y="77"/>
                  <a:pt x="128" y="73"/>
                  <a:pt x="143" y="76"/>
                </a:cubicBezTo>
                <a:cubicBezTo>
                  <a:pt x="157" y="78"/>
                  <a:pt x="170" y="86"/>
                  <a:pt x="179" y="99"/>
                </a:cubicBezTo>
                <a:cubicBezTo>
                  <a:pt x="215" y="148"/>
                  <a:pt x="182" y="259"/>
                  <a:pt x="130" y="321"/>
                </a:cubicBezTo>
                <a:lnTo>
                  <a:pt x="122" y="330"/>
                </a:lnTo>
                <a:lnTo>
                  <a:pt x="122" y="341"/>
                </a:lnTo>
                <a:cubicBezTo>
                  <a:pt x="121" y="347"/>
                  <a:pt x="113" y="480"/>
                  <a:pt x="202" y="575"/>
                </a:cubicBezTo>
                <a:cubicBezTo>
                  <a:pt x="258" y="636"/>
                  <a:pt x="340" y="666"/>
                  <a:pt x="445" y="666"/>
                </a:cubicBezTo>
                <a:cubicBezTo>
                  <a:pt x="549" y="666"/>
                  <a:pt x="630" y="636"/>
                  <a:pt x="687" y="575"/>
                </a:cubicBezTo>
                <a:cubicBezTo>
                  <a:pt x="775" y="480"/>
                  <a:pt x="767" y="347"/>
                  <a:pt x="767" y="341"/>
                </a:cubicBezTo>
                <a:lnTo>
                  <a:pt x="766" y="330"/>
                </a:lnTo>
                <a:lnTo>
                  <a:pt x="759" y="321"/>
                </a:lnTo>
                <a:cubicBezTo>
                  <a:pt x="706" y="259"/>
                  <a:pt x="673" y="148"/>
                  <a:pt x="710" y="98"/>
                </a:cubicBezTo>
                <a:cubicBezTo>
                  <a:pt x="718" y="86"/>
                  <a:pt x="731" y="78"/>
                  <a:pt x="746" y="76"/>
                </a:cubicBezTo>
                <a:cubicBezTo>
                  <a:pt x="760" y="73"/>
                  <a:pt x="775" y="77"/>
                  <a:pt x="787" y="85"/>
                </a:cubicBezTo>
                <a:cubicBezTo>
                  <a:pt x="803" y="97"/>
                  <a:pt x="807" y="121"/>
                  <a:pt x="795" y="137"/>
                </a:cubicBezTo>
                <a:cubicBezTo>
                  <a:pt x="792" y="142"/>
                  <a:pt x="787" y="145"/>
                  <a:pt x="782" y="146"/>
                </a:cubicBezTo>
                <a:cubicBezTo>
                  <a:pt x="762" y="150"/>
                  <a:pt x="750" y="169"/>
                  <a:pt x="754" y="189"/>
                </a:cubicBezTo>
                <a:cubicBezTo>
                  <a:pt x="758" y="208"/>
                  <a:pt x="777" y="220"/>
                  <a:pt x="797" y="216"/>
                </a:cubicBezTo>
                <a:cubicBezTo>
                  <a:pt x="820" y="212"/>
                  <a:pt x="840" y="198"/>
                  <a:pt x="854" y="179"/>
                </a:cubicBezTo>
                <a:cubicBezTo>
                  <a:pt x="888" y="130"/>
                  <a:pt x="877" y="63"/>
                  <a:pt x="829" y="27"/>
                </a:cubicBezTo>
                <a:close/>
                <a:moveTo>
                  <a:pt x="301" y="777"/>
                </a:moveTo>
                <a:lnTo>
                  <a:pt x="587" y="777"/>
                </a:lnTo>
                <a:lnTo>
                  <a:pt x="587" y="705"/>
                </a:lnTo>
                <a:lnTo>
                  <a:pt x="301" y="705"/>
                </a:lnTo>
                <a:lnTo>
                  <a:pt x="301" y="77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7" name="Freeform 55"/>
          <p:cNvSpPr>
            <a:spLocks noEditPoints="1"/>
          </p:cNvSpPr>
          <p:nvPr/>
        </p:nvSpPr>
        <p:spPr bwMode="auto">
          <a:xfrm>
            <a:off x="630619" y="562065"/>
            <a:ext cx="588580" cy="516260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3" name="Freeform 71"/>
          <p:cNvSpPr>
            <a:spLocks noEditPoints="1"/>
          </p:cNvSpPr>
          <p:nvPr/>
        </p:nvSpPr>
        <p:spPr bwMode="auto">
          <a:xfrm>
            <a:off x="6540438" y="532048"/>
            <a:ext cx="588580" cy="576291"/>
          </a:xfrm>
          <a:custGeom>
            <a:avLst/>
            <a:gdLst>
              <a:gd name="T0" fmla="*/ 394 w 859"/>
              <a:gd name="T1" fmla="*/ 227 h 836"/>
              <a:gd name="T2" fmla="*/ 465 w 859"/>
              <a:gd name="T3" fmla="*/ 299 h 836"/>
              <a:gd name="T4" fmla="*/ 465 w 859"/>
              <a:gd name="T5" fmla="*/ 836 h 836"/>
              <a:gd name="T6" fmla="*/ 535 w 859"/>
              <a:gd name="T7" fmla="*/ 371 h 836"/>
              <a:gd name="T8" fmla="*/ 465 w 859"/>
              <a:gd name="T9" fmla="*/ 836 h 836"/>
              <a:gd name="T10" fmla="*/ 394 w 859"/>
              <a:gd name="T11" fmla="*/ 836 h 836"/>
              <a:gd name="T12" fmla="*/ 324 w 859"/>
              <a:gd name="T13" fmla="*/ 371 h 836"/>
              <a:gd name="T14" fmla="*/ 215 w 859"/>
              <a:gd name="T15" fmla="*/ 172 h 836"/>
              <a:gd name="T16" fmla="*/ 286 w 859"/>
              <a:gd name="T17" fmla="*/ 836 h 836"/>
              <a:gd name="T18" fmla="*/ 430 w 859"/>
              <a:gd name="T19" fmla="*/ 92 h 836"/>
              <a:gd name="T20" fmla="*/ 573 w 859"/>
              <a:gd name="T21" fmla="*/ 836 h 836"/>
              <a:gd name="T22" fmla="*/ 645 w 859"/>
              <a:gd name="T23" fmla="*/ 172 h 836"/>
              <a:gd name="T24" fmla="*/ 215 w 859"/>
              <a:gd name="T25" fmla="*/ 172 h 836"/>
              <a:gd name="T26" fmla="*/ 752 w 859"/>
              <a:gd name="T27" fmla="*/ 800 h 836"/>
              <a:gd name="T28" fmla="*/ 680 w 859"/>
              <a:gd name="T29" fmla="*/ 729 h 836"/>
              <a:gd name="T30" fmla="*/ 680 w 859"/>
              <a:gd name="T31" fmla="*/ 657 h 836"/>
              <a:gd name="T32" fmla="*/ 752 w 859"/>
              <a:gd name="T33" fmla="*/ 585 h 836"/>
              <a:gd name="T34" fmla="*/ 680 w 859"/>
              <a:gd name="T35" fmla="*/ 657 h 836"/>
              <a:gd name="T36" fmla="*/ 752 w 859"/>
              <a:gd name="T37" fmla="*/ 514 h 836"/>
              <a:gd name="T38" fmla="*/ 680 w 859"/>
              <a:gd name="T39" fmla="*/ 442 h 836"/>
              <a:gd name="T40" fmla="*/ 107 w 859"/>
              <a:gd name="T41" fmla="*/ 800 h 836"/>
              <a:gd name="T42" fmla="*/ 179 w 859"/>
              <a:gd name="T43" fmla="*/ 729 h 836"/>
              <a:gd name="T44" fmla="*/ 107 w 859"/>
              <a:gd name="T45" fmla="*/ 800 h 836"/>
              <a:gd name="T46" fmla="*/ 179 w 859"/>
              <a:gd name="T47" fmla="*/ 657 h 836"/>
              <a:gd name="T48" fmla="*/ 107 w 859"/>
              <a:gd name="T49" fmla="*/ 585 h 836"/>
              <a:gd name="T50" fmla="*/ 107 w 859"/>
              <a:gd name="T51" fmla="*/ 514 h 836"/>
              <a:gd name="T52" fmla="*/ 179 w 859"/>
              <a:gd name="T53" fmla="*/ 442 h 836"/>
              <a:gd name="T54" fmla="*/ 107 w 859"/>
              <a:gd name="T55" fmla="*/ 514 h 836"/>
              <a:gd name="T56" fmla="*/ 680 w 859"/>
              <a:gd name="T57" fmla="*/ 371 h 836"/>
              <a:gd name="T58" fmla="*/ 788 w 859"/>
              <a:gd name="T59" fmla="*/ 836 h 836"/>
              <a:gd name="T60" fmla="*/ 859 w 859"/>
              <a:gd name="T61" fmla="*/ 299 h 836"/>
              <a:gd name="T62" fmla="*/ 0 w 859"/>
              <a:gd name="T63" fmla="*/ 836 h 836"/>
              <a:gd name="T64" fmla="*/ 72 w 859"/>
              <a:gd name="T65" fmla="*/ 371 h 836"/>
              <a:gd name="T66" fmla="*/ 179 w 859"/>
              <a:gd name="T67" fmla="*/ 299 h 836"/>
              <a:gd name="T68" fmla="*/ 0 w 859"/>
              <a:gd name="T69" fmla="*/ 836 h 8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859" h="836">
                <a:moveTo>
                  <a:pt x="465" y="227"/>
                </a:moveTo>
                <a:lnTo>
                  <a:pt x="394" y="227"/>
                </a:lnTo>
                <a:lnTo>
                  <a:pt x="394" y="299"/>
                </a:lnTo>
                <a:lnTo>
                  <a:pt x="465" y="299"/>
                </a:lnTo>
                <a:lnTo>
                  <a:pt x="465" y="227"/>
                </a:lnTo>
                <a:close/>
                <a:moveTo>
                  <a:pt x="465" y="836"/>
                </a:moveTo>
                <a:lnTo>
                  <a:pt x="535" y="836"/>
                </a:lnTo>
                <a:lnTo>
                  <a:pt x="535" y="371"/>
                </a:lnTo>
                <a:lnTo>
                  <a:pt x="465" y="371"/>
                </a:lnTo>
                <a:lnTo>
                  <a:pt x="465" y="836"/>
                </a:lnTo>
                <a:close/>
                <a:moveTo>
                  <a:pt x="324" y="836"/>
                </a:moveTo>
                <a:lnTo>
                  <a:pt x="394" y="836"/>
                </a:lnTo>
                <a:lnTo>
                  <a:pt x="394" y="371"/>
                </a:lnTo>
                <a:lnTo>
                  <a:pt x="324" y="371"/>
                </a:lnTo>
                <a:lnTo>
                  <a:pt x="324" y="836"/>
                </a:lnTo>
                <a:close/>
                <a:moveTo>
                  <a:pt x="215" y="172"/>
                </a:moveTo>
                <a:lnTo>
                  <a:pt x="215" y="836"/>
                </a:lnTo>
                <a:lnTo>
                  <a:pt x="286" y="836"/>
                </a:lnTo>
                <a:lnTo>
                  <a:pt x="286" y="207"/>
                </a:lnTo>
                <a:lnTo>
                  <a:pt x="430" y="92"/>
                </a:lnTo>
                <a:lnTo>
                  <a:pt x="573" y="207"/>
                </a:lnTo>
                <a:lnTo>
                  <a:pt x="573" y="836"/>
                </a:lnTo>
                <a:lnTo>
                  <a:pt x="645" y="836"/>
                </a:lnTo>
                <a:lnTo>
                  <a:pt x="645" y="172"/>
                </a:lnTo>
                <a:lnTo>
                  <a:pt x="430" y="0"/>
                </a:lnTo>
                <a:lnTo>
                  <a:pt x="215" y="172"/>
                </a:lnTo>
                <a:close/>
                <a:moveTo>
                  <a:pt x="680" y="800"/>
                </a:moveTo>
                <a:lnTo>
                  <a:pt x="752" y="800"/>
                </a:lnTo>
                <a:lnTo>
                  <a:pt x="752" y="729"/>
                </a:lnTo>
                <a:lnTo>
                  <a:pt x="680" y="729"/>
                </a:lnTo>
                <a:lnTo>
                  <a:pt x="680" y="800"/>
                </a:lnTo>
                <a:close/>
                <a:moveTo>
                  <a:pt x="680" y="657"/>
                </a:moveTo>
                <a:lnTo>
                  <a:pt x="752" y="657"/>
                </a:lnTo>
                <a:lnTo>
                  <a:pt x="752" y="585"/>
                </a:lnTo>
                <a:lnTo>
                  <a:pt x="680" y="585"/>
                </a:lnTo>
                <a:lnTo>
                  <a:pt x="680" y="657"/>
                </a:lnTo>
                <a:close/>
                <a:moveTo>
                  <a:pt x="680" y="514"/>
                </a:moveTo>
                <a:lnTo>
                  <a:pt x="752" y="514"/>
                </a:lnTo>
                <a:lnTo>
                  <a:pt x="752" y="442"/>
                </a:lnTo>
                <a:lnTo>
                  <a:pt x="680" y="442"/>
                </a:lnTo>
                <a:lnTo>
                  <a:pt x="680" y="514"/>
                </a:lnTo>
                <a:close/>
                <a:moveTo>
                  <a:pt x="107" y="800"/>
                </a:moveTo>
                <a:lnTo>
                  <a:pt x="179" y="800"/>
                </a:lnTo>
                <a:lnTo>
                  <a:pt x="179" y="729"/>
                </a:lnTo>
                <a:lnTo>
                  <a:pt x="107" y="729"/>
                </a:lnTo>
                <a:lnTo>
                  <a:pt x="107" y="800"/>
                </a:lnTo>
                <a:close/>
                <a:moveTo>
                  <a:pt x="107" y="657"/>
                </a:moveTo>
                <a:lnTo>
                  <a:pt x="179" y="657"/>
                </a:lnTo>
                <a:lnTo>
                  <a:pt x="179" y="585"/>
                </a:lnTo>
                <a:lnTo>
                  <a:pt x="107" y="585"/>
                </a:lnTo>
                <a:lnTo>
                  <a:pt x="107" y="657"/>
                </a:lnTo>
                <a:close/>
                <a:moveTo>
                  <a:pt x="107" y="514"/>
                </a:moveTo>
                <a:lnTo>
                  <a:pt x="179" y="514"/>
                </a:lnTo>
                <a:lnTo>
                  <a:pt x="179" y="442"/>
                </a:lnTo>
                <a:lnTo>
                  <a:pt x="107" y="442"/>
                </a:lnTo>
                <a:lnTo>
                  <a:pt x="107" y="514"/>
                </a:lnTo>
                <a:close/>
                <a:moveTo>
                  <a:pt x="680" y="299"/>
                </a:moveTo>
                <a:lnTo>
                  <a:pt x="680" y="371"/>
                </a:lnTo>
                <a:lnTo>
                  <a:pt x="788" y="371"/>
                </a:lnTo>
                <a:lnTo>
                  <a:pt x="788" y="836"/>
                </a:lnTo>
                <a:lnTo>
                  <a:pt x="859" y="836"/>
                </a:lnTo>
                <a:lnTo>
                  <a:pt x="859" y="299"/>
                </a:lnTo>
                <a:lnTo>
                  <a:pt x="680" y="299"/>
                </a:lnTo>
                <a:close/>
                <a:moveTo>
                  <a:pt x="0" y="836"/>
                </a:moveTo>
                <a:lnTo>
                  <a:pt x="72" y="836"/>
                </a:lnTo>
                <a:lnTo>
                  <a:pt x="72" y="371"/>
                </a:lnTo>
                <a:lnTo>
                  <a:pt x="179" y="371"/>
                </a:lnTo>
                <a:lnTo>
                  <a:pt x="179" y="299"/>
                </a:lnTo>
                <a:lnTo>
                  <a:pt x="0" y="299"/>
                </a:lnTo>
                <a:lnTo>
                  <a:pt x="0" y="83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F28B5AF9-254C-449F-805A-200563AB24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93" name="Слайд think-cell" r:id="rId6" imgW="359" imgH="360" progId="TCLayout.ActiveDocument.1">
                  <p:embed/>
                </p:oleObj>
              </mc:Choice>
              <mc:Fallback>
                <p:oleObj name="Слайд think-cell" r:id="rId6" imgW="359" imgH="360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F28B5AF9-254C-449F-805A-200563AB24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id="{D7EC1761-6312-4AB4-8DAC-F08C2EC72D3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5467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sp>
        <p:nvSpPr>
          <p:cNvPr id="8" name="AutoShape 4"/>
          <p:cNvSpPr>
            <a:spLocks noChangeAspect="1" noChangeArrowheads="1" noTextEdit="1"/>
          </p:cNvSpPr>
          <p:nvPr/>
        </p:nvSpPr>
        <p:spPr bwMode="auto">
          <a:xfrm>
            <a:off x="10099577" y="300998"/>
            <a:ext cx="1500931" cy="518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2400" dirty="0">
              <a:solidFill>
                <a:schemeClr val="bg1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86184" y="6405331"/>
            <a:ext cx="11819633" cy="2871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933" dirty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се права защищены. Никакая часть презентации не может быть воспроизведена в какой бы то ни было форме и какими бы то ни было средствами, включая размещение в Интернете и в корпоративных сетях, а также запись в память ЭВМ, </a:t>
            </a:r>
            <a:r>
              <a:rPr lang="ru-RU" sz="933" dirty="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для </a:t>
            </a:r>
            <a:r>
              <a:rPr lang="ru-RU" sz="933" dirty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частного или публичного использования, без письменного разрешения владельца авторских прав. © АО «Издательство «Просвещение», 20</a:t>
            </a:r>
            <a:r>
              <a:rPr lang="en-US" sz="933" dirty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0</a:t>
            </a:r>
            <a:r>
              <a:rPr lang="ru-RU" sz="933" dirty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г.</a:t>
            </a:r>
          </a:p>
        </p:txBody>
      </p:sp>
      <p:sp>
        <p:nvSpPr>
          <p:cNvPr id="94" name="Подзаголовок 2"/>
          <p:cNvSpPr txBox="1">
            <a:spLocks/>
          </p:cNvSpPr>
          <p:nvPr/>
        </p:nvSpPr>
        <p:spPr>
          <a:xfrm>
            <a:off x="1909444" y="5023146"/>
            <a:ext cx="8459420" cy="8863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377">
              <a:lnSpc>
                <a:spcPct val="120000"/>
              </a:lnSpc>
              <a:spcBef>
                <a:spcPts val="0"/>
              </a:spcBef>
              <a:buNone/>
              <a:defRPr/>
            </a:pPr>
            <a:r>
              <a:rPr lang="ru-RU" sz="1200" b="1" spc="-4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Группа компаний «Просвещение»</a:t>
            </a:r>
          </a:p>
          <a:p>
            <a:pPr marL="0" indent="0" defTabSz="914377">
              <a:lnSpc>
                <a:spcPct val="120000"/>
              </a:lnSpc>
              <a:spcBef>
                <a:spcPts val="0"/>
              </a:spcBef>
              <a:buNone/>
              <a:defRPr/>
            </a:pPr>
            <a:r>
              <a:rPr lang="ru-RU" sz="1200" spc="-4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Адрес</a:t>
            </a:r>
            <a:r>
              <a:rPr lang="ru-RU" sz="1200" spc="-4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: </a:t>
            </a:r>
            <a:r>
              <a:rPr lang="ru-RU" sz="120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27473, г. Москва, ул. Краснопролетарская, д. 16, стр. 3, подъезд 8</a:t>
            </a:r>
            <a:r>
              <a:rPr lang="ru-RU" sz="12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бизнес-центр </a:t>
            </a:r>
            <a:r>
              <a:rPr lang="ru-RU" sz="120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«Новослободский</a:t>
            </a:r>
            <a:r>
              <a:rPr lang="ru-RU" sz="12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»</a:t>
            </a:r>
          </a:p>
          <a:p>
            <a:pPr marL="0" indent="0" defTabSz="914377">
              <a:lnSpc>
                <a:spcPct val="120000"/>
              </a:lnSpc>
              <a:spcBef>
                <a:spcPts val="0"/>
              </a:spcBef>
              <a:buNone/>
              <a:defRPr/>
            </a:pPr>
            <a:r>
              <a:rPr lang="ru-RU" sz="120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/>
            </a:r>
            <a:br>
              <a:rPr lang="ru-RU" sz="120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ru-RU" sz="1200" spc="-4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Горячая </a:t>
            </a:r>
            <a:r>
              <a:rPr lang="ru-RU" sz="1200" spc="-4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линия: 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8"/>
              </a:rPr>
              <a:t>vopros</a:t>
            </a:r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8"/>
              </a:rPr>
              <a:t>@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8"/>
              </a:rPr>
              <a:t>prosv</a:t>
            </a:r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8"/>
              </a:rPr>
              <a:t>.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8"/>
              </a:rPr>
              <a:t>ru</a:t>
            </a:r>
            <a:endParaRPr lang="ru-RU" sz="1200" spc="-40" dirty="0">
              <a:solidFill>
                <a:schemeClr val="tx1">
                  <a:lumMod val="75000"/>
                  <a:lumOff val="2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96" name="Рисунок 24">
            <a:hlinkClick r:id="rId9"/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184" y="4735857"/>
            <a:ext cx="1477452" cy="1477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15702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" name="Прямоугольник 377"/>
          <p:cNvSpPr/>
          <p:nvPr/>
        </p:nvSpPr>
        <p:spPr>
          <a:xfrm>
            <a:off x="7150032" y="3073798"/>
            <a:ext cx="4882154" cy="2705326"/>
          </a:xfrm>
          <a:prstGeom prst="rect">
            <a:avLst/>
          </a:prstGeom>
          <a:solidFill>
            <a:schemeClr val="accent1">
              <a:lumMod val="20000"/>
              <a:lumOff val="8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376" name="Прямоугольник 375"/>
          <p:cNvSpPr/>
          <p:nvPr/>
        </p:nvSpPr>
        <p:spPr>
          <a:xfrm>
            <a:off x="240697" y="3065405"/>
            <a:ext cx="6555519" cy="2637988"/>
          </a:xfrm>
          <a:prstGeom prst="rect">
            <a:avLst/>
          </a:prstGeom>
          <a:solidFill>
            <a:schemeClr val="accent1">
              <a:lumMod val="20000"/>
              <a:lumOff val="8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373" name="Прямоугольник 372"/>
          <p:cNvSpPr/>
          <p:nvPr/>
        </p:nvSpPr>
        <p:spPr>
          <a:xfrm>
            <a:off x="7006646" y="1902510"/>
            <a:ext cx="4879031" cy="477484"/>
          </a:xfrm>
          <a:prstGeom prst="rect">
            <a:avLst/>
          </a:prstGeom>
          <a:solidFill>
            <a:srgbClr val="D8EB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374" name="TextBox 373"/>
          <p:cNvSpPr txBox="1"/>
          <p:nvPr/>
        </p:nvSpPr>
        <p:spPr>
          <a:xfrm>
            <a:off x="8096997" y="2009459"/>
            <a:ext cx="2507793" cy="369332"/>
          </a:xfrm>
          <a:prstGeom prst="rect">
            <a:avLst/>
          </a:prstGeom>
          <a:noFill/>
        </p:spPr>
        <p:txBody>
          <a:bodyPr wrap="none" lIns="36000" rIns="36000" rtlCol="0">
            <a:spAutoFit/>
          </a:bodyPr>
          <a:lstStyle/>
          <a:p>
            <a:pPr marL="0" lvl="6"/>
            <a:r>
              <a:rPr lang="ru-RU" b="1" spc="-4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НОРМАТИВНЫЕ ДОКУМЕНТЫ</a:t>
            </a:r>
            <a:endParaRPr lang="ru-RU" b="1" spc="-40" dirty="0">
              <a:solidFill>
                <a:schemeClr val="tx1">
                  <a:lumMod val="85000"/>
                  <a:lumOff val="1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71" name="Прямоугольник 370"/>
          <p:cNvSpPr/>
          <p:nvPr/>
        </p:nvSpPr>
        <p:spPr>
          <a:xfrm>
            <a:off x="524995" y="1928862"/>
            <a:ext cx="6475103" cy="477484"/>
          </a:xfrm>
          <a:prstGeom prst="rect">
            <a:avLst/>
          </a:prstGeom>
          <a:solidFill>
            <a:srgbClr val="D8EB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aphicFrame>
        <p:nvGraphicFramePr>
          <p:cNvPr id="46" name="Таблица 4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07145455"/>
              </p:ext>
            </p:extLst>
          </p:nvPr>
        </p:nvGraphicFramePr>
        <p:xfrm>
          <a:off x="295718" y="3052917"/>
          <a:ext cx="6555519" cy="3017176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6555519">
                  <a:extLst>
                    <a:ext uri="{9D8B030D-6E8A-4147-A177-3AD203B41FA5}">
                      <a16:colId xmlns:a16="http://schemas.microsoft.com/office/drawing/2014/main" val="4015112189"/>
                    </a:ext>
                  </a:extLst>
                </a:gridCol>
              </a:tblGrid>
              <a:tr h="1489586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ru-RU" sz="1600" b="0" kern="120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Open Sans" pitchFamily="34" charset="0"/>
                          <a:ea typeface="Open Sans" pitchFamily="34" charset="0"/>
                          <a:cs typeface="Open Sans" pitchFamily="34" charset="0"/>
                        </a:rPr>
                        <a:t>Вхождение Российской Федерации в число </a:t>
                      </a:r>
                    </a:p>
                    <a:p>
                      <a:pPr>
                        <a:lnSpc>
                          <a:spcPct val="90000"/>
                        </a:lnSpc>
                      </a:pPr>
                      <a:r>
                        <a:rPr lang="ru-RU" sz="1600" b="0" kern="120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Open Sans" pitchFamily="34" charset="0"/>
                          <a:ea typeface="Open Sans" pitchFamily="34" charset="0"/>
                          <a:cs typeface="Open Sans" pitchFamily="34" charset="0"/>
                        </a:rPr>
                        <a:t>десяти ведущих стран мира по качеству общего образования.</a:t>
                      </a:r>
                      <a:endParaRPr lang="ru-RU" sz="1600" b="0" kern="120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Open Sans" pitchFamily="34" charset="0"/>
                        <a:ea typeface="Open Sans" pitchFamily="34" charset="0"/>
                        <a:cs typeface="Open Sans" pitchFamily="34" charset="0"/>
                      </a:endParaRPr>
                    </a:p>
                  </a:txBody>
                  <a:tcPr marL="252000" marR="144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40A7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3586250"/>
                  </a:ext>
                </a:extLst>
              </a:tr>
              <a:tr h="763795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ru-RU" sz="1600" b="0" kern="120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Open Sans" pitchFamily="34" charset="0"/>
                          <a:ea typeface="Open Sans" pitchFamily="34" charset="0"/>
                          <a:cs typeface="Open Sans" pitchFamily="34" charset="0"/>
                        </a:rPr>
                        <a:t>Проведение в субъектах Российской Федерации оценки качества общего образования на основе практики международных исследований.</a:t>
                      </a:r>
                      <a:endParaRPr lang="ru-RU" sz="1600" b="0" kern="120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Open Sans" pitchFamily="34" charset="0"/>
                        <a:ea typeface="Open Sans" pitchFamily="34" charset="0"/>
                        <a:cs typeface="Open Sans" pitchFamily="34" charset="0"/>
                      </a:endParaRPr>
                    </a:p>
                  </a:txBody>
                  <a:tcPr marL="252000" marR="144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64598039"/>
                  </a:ext>
                </a:extLst>
              </a:tr>
              <a:tr h="763795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endParaRPr lang="ru-RU" sz="1100" b="0" kern="120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Open Sans" pitchFamily="34" charset="0"/>
                        <a:ea typeface="Open Sans" pitchFamily="34" charset="0"/>
                        <a:cs typeface="Open Sans" pitchFamily="34" charset="0"/>
                      </a:endParaRPr>
                    </a:p>
                  </a:txBody>
                  <a:tcPr marL="252000" marR="144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9111912"/>
                  </a:ext>
                </a:extLst>
              </a:tr>
            </a:tbl>
          </a:graphicData>
        </a:graphic>
      </p:graphicFrame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2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/>
          <p:cNvSpPr txBox="1"/>
          <p:nvPr/>
        </p:nvSpPr>
        <p:spPr>
          <a:xfrm>
            <a:off x="1873319" y="352674"/>
            <a:ext cx="10029387" cy="3836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sz="2133" b="1" dirty="0" smtClean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Национальные цели </a:t>
            </a:r>
            <a:r>
              <a:rPr lang="ru-RU" sz="2133" b="1" dirty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развития системы образования РФ </a:t>
            </a:r>
            <a:r>
              <a:rPr lang="ru-RU" sz="2133" b="1" dirty="0" smtClean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2020–2030 </a:t>
            </a:r>
            <a:r>
              <a:rPr lang="ru-RU" sz="2133" b="1" dirty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гг.</a:t>
            </a:r>
            <a:endParaRPr kumimoji="0" lang="ru-RU" sz="2133" b="1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Open Sans Condensed" pitchFamily="34" charset="0"/>
              <a:ea typeface="Open Sans Condensed" pitchFamily="34" charset="0"/>
              <a:cs typeface="Open Sans Condensed" pitchFamily="34" charset="0"/>
            </a:endParaRPr>
          </a:p>
        </p:txBody>
      </p:sp>
      <p:pic>
        <p:nvPicPr>
          <p:cNvPr id="47107" name="Picture 3" descr="G:\2019\ПРОСВЕЩЕНИЕ\2020\NEW\2_001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0815" y="1569485"/>
            <a:ext cx="731253" cy="8093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7344" name="Группа 47343"/>
          <p:cNvGrpSpPr/>
          <p:nvPr/>
        </p:nvGrpSpPr>
        <p:grpSpPr>
          <a:xfrm>
            <a:off x="96040" y="1243830"/>
            <a:ext cx="3048518" cy="1189205"/>
            <a:chOff x="244475" y="989013"/>
            <a:chExt cx="2955925" cy="939800"/>
          </a:xfrm>
        </p:grpSpPr>
        <p:sp>
          <p:nvSpPr>
            <p:cNvPr id="5" name="AutoShape 6"/>
            <p:cNvSpPr>
              <a:spLocks noChangeAspect="1" noChangeArrowheads="1" noTextEdit="1"/>
            </p:cNvSpPr>
            <p:nvPr/>
          </p:nvSpPr>
          <p:spPr bwMode="auto">
            <a:xfrm>
              <a:off x="244475" y="989013"/>
              <a:ext cx="2933700" cy="9318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grpSp>
          <p:nvGrpSpPr>
            <p:cNvPr id="6" name="Group 208"/>
            <p:cNvGrpSpPr>
              <a:grpSpLocks/>
            </p:cNvGrpSpPr>
            <p:nvPr/>
          </p:nvGrpSpPr>
          <p:grpSpPr bwMode="auto">
            <a:xfrm>
              <a:off x="1387475" y="989013"/>
              <a:ext cx="1216025" cy="939799"/>
              <a:chOff x="874" y="623"/>
              <a:chExt cx="766" cy="592"/>
            </a:xfrm>
          </p:grpSpPr>
          <p:sp>
            <p:nvSpPr>
              <p:cNvPr id="47144" name="Freeform 8"/>
              <p:cNvSpPr>
                <a:spLocks/>
              </p:cNvSpPr>
              <p:nvPr/>
            </p:nvSpPr>
            <p:spPr bwMode="auto">
              <a:xfrm>
                <a:off x="1282" y="880"/>
                <a:ext cx="70" cy="208"/>
              </a:xfrm>
              <a:custGeom>
                <a:avLst/>
                <a:gdLst>
                  <a:gd name="T0" fmla="*/ 360 w 360"/>
                  <a:gd name="T1" fmla="*/ 25 h 1070"/>
                  <a:gd name="T2" fmla="*/ 360 w 360"/>
                  <a:gd name="T3" fmla="*/ 1070 h 1070"/>
                  <a:gd name="T4" fmla="*/ 312 w 360"/>
                  <a:gd name="T5" fmla="*/ 1065 h 1070"/>
                  <a:gd name="T6" fmla="*/ 312 w 360"/>
                  <a:gd name="T7" fmla="*/ 1065 h 1070"/>
                  <a:gd name="T8" fmla="*/ 128 w 360"/>
                  <a:gd name="T9" fmla="*/ 1065 h 1070"/>
                  <a:gd name="T10" fmla="*/ 0 w 360"/>
                  <a:gd name="T11" fmla="*/ 1065 h 1070"/>
                  <a:gd name="T12" fmla="*/ 0 w 360"/>
                  <a:gd name="T13" fmla="*/ 25 h 1070"/>
                  <a:gd name="T14" fmla="*/ 24 w 360"/>
                  <a:gd name="T15" fmla="*/ 0 h 1070"/>
                  <a:gd name="T16" fmla="*/ 335 w 360"/>
                  <a:gd name="T17" fmla="*/ 0 h 1070"/>
                  <a:gd name="T18" fmla="*/ 360 w 360"/>
                  <a:gd name="T19" fmla="*/ 25 h 10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60" h="1070">
                    <a:moveTo>
                      <a:pt x="360" y="25"/>
                    </a:moveTo>
                    <a:lnTo>
                      <a:pt x="360" y="1070"/>
                    </a:lnTo>
                    <a:cubicBezTo>
                      <a:pt x="344" y="1066"/>
                      <a:pt x="328" y="1065"/>
                      <a:pt x="312" y="1065"/>
                    </a:cubicBezTo>
                    <a:lnTo>
                      <a:pt x="312" y="1065"/>
                    </a:lnTo>
                    <a:lnTo>
                      <a:pt x="128" y="1065"/>
                    </a:lnTo>
                    <a:lnTo>
                      <a:pt x="0" y="1065"/>
                    </a:lnTo>
                    <a:lnTo>
                      <a:pt x="0" y="25"/>
                    </a:lnTo>
                    <a:cubicBezTo>
                      <a:pt x="0" y="12"/>
                      <a:pt x="11" y="0"/>
                      <a:pt x="24" y="0"/>
                    </a:cubicBezTo>
                    <a:lnTo>
                      <a:pt x="335" y="0"/>
                    </a:lnTo>
                    <a:cubicBezTo>
                      <a:pt x="349" y="0"/>
                      <a:pt x="360" y="12"/>
                      <a:pt x="360" y="25"/>
                    </a:cubicBezTo>
                    <a:close/>
                  </a:path>
                </a:pathLst>
              </a:custGeom>
              <a:solidFill>
                <a:srgbClr val="37658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45" name="Freeform 9"/>
              <p:cNvSpPr>
                <a:spLocks/>
              </p:cNvSpPr>
              <p:nvPr/>
            </p:nvSpPr>
            <p:spPr bwMode="auto">
              <a:xfrm>
                <a:off x="1352" y="880"/>
                <a:ext cx="69" cy="240"/>
              </a:xfrm>
              <a:custGeom>
                <a:avLst/>
                <a:gdLst>
                  <a:gd name="T0" fmla="*/ 360 w 360"/>
                  <a:gd name="T1" fmla="*/ 25 h 1235"/>
                  <a:gd name="T2" fmla="*/ 360 w 360"/>
                  <a:gd name="T3" fmla="*/ 1070 h 1235"/>
                  <a:gd name="T4" fmla="*/ 248 w 360"/>
                  <a:gd name="T5" fmla="*/ 1132 h 1235"/>
                  <a:gd name="T6" fmla="*/ 248 w 360"/>
                  <a:gd name="T7" fmla="*/ 1132 h 1235"/>
                  <a:gd name="T8" fmla="*/ 188 w 360"/>
                  <a:gd name="T9" fmla="*/ 1235 h 1235"/>
                  <a:gd name="T10" fmla="*/ 173 w 360"/>
                  <a:gd name="T11" fmla="*/ 1235 h 1235"/>
                  <a:gd name="T12" fmla="*/ 114 w 360"/>
                  <a:gd name="T13" fmla="*/ 1132 h 1235"/>
                  <a:gd name="T14" fmla="*/ 114 w 360"/>
                  <a:gd name="T15" fmla="*/ 1132 h 1235"/>
                  <a:gd name="T16" fmla="*/ 0 w 360"/>
                  <a:gd name="T17" fmla="*/ 1070 h 1235"/>
                  <a:gd name="T18" fmla="*/ 0 w 360"/>
                  <a:gd name="T19" fmla="*/ 25 h 1235"/>
                  <a:gd name="T20" fmla="*/ 24 w 360"/>
                  <a:gd name="T21" fmla="*/ 0 h 1235"/>
                  <a:gd name="T22" fmla="*/ 335 w 360"/>
                  <a:gd name="T23" fmla="*/ 0 h 1235"/>
                  <a:gd name="T24" fmla="*/ 360 w 360"/>
                  <a:gd name="T25" fmla="*/ 25 h 12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60" h="1235">
                    <a:moveTo>
                      <a:pt x="360" y="25"/>
                    </a:moveTo>
                    <a:lnTo>
                      <a:pt x="360" y="1070"/>
                    </a:lnTo>
                    <a:cubicBezTo>
                      <a:pt x="316" y="1080"/>
                      <a:pt x="278" y="1101"/>
                      <a:pt x="248" y="1132"/>
                    </a:cubicBezTo>
                    <a:lnTo>
                      <a:pt x="248" y="1132"/>
                    </a:lnTo>
                    <a:cubicBezTo>
                      <a:pt x="220" y="1160"/>
                      <a:pt x="199" y="1195"/>
                      <a:pt x="188" y="1235"/>
                    </a:cubicBezTo>
                    <a:lnTo>
                      <a:pt x="173" y="1235"/>
                    </a:lnTo>
                    <a:cubicBezTo>
                      <a:pt x="163" y="1195"/>
                      <a:pt x="142" y="1160"/>
                      <a:pt x="114" y="1132"/>
                    </a:cubicBezTo>
                    <a:lnTo>
                      <a:pt x="114" y="1132"/>
                    </a:lnTo>
                    <a:cubicBezTo>
                      <a:pt x="83" y="1101"/>
                      <a:pt x="44" y="1079"/>
                      <a:pt x="0" y="1070"/>
                    </a:cubicBezTo>
                    <a:lnTo>
                      <a:pt x="0" y="25"/>
                    </a:lnTo>
                    <a:cubicBezTo>
                      <a:pt x="0" y="12"/>
                      <a:pt x="11" y="0"/>
                      <a:pt x="24" y="0"/>
                    </a:cubicBezTo>
                    <a:lnTo>
                      <a:pt x="335" y="0"/>
                    </a:lnTo>
                    <a:cubicBezTo>
                      <a:pt x="348" y="0"/>
                      <a:pt x="360" y="12"/>
                      <a:pt x="360" y="25"/>
                    </a:cubicBezTo>
                    <a:close/>
                  </a:path>
                </a:pathLst>
              </a:custGeom>
              <a:solidFill>
                <a:srgbClr val="37658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46" name="Freeform 10"/>
              <p:cNvSpPr>
                <a:spLocks/>
              </p:cNvSpPr>
              <p:nvPr/>
            </p:nvSpPr>
            <p:spPr bwMode="auto">
              <a:xfrm>
                <a:off x="1421" y="880"/>
                <a:ext cx="70" cy="208"/>
              </a:xfrm>
              <a:custGeom>
                <a:avLst/>
                <a:gdLst>
                  <a:gd name="T0" fmla="*/ 359 w 359"/>
                  <a:gd name="T1" fmla="*/ 25 h 1070"/>
                  <a:gd name="T2" fmla="*/ 359 w 359"/>
                  <a:gd name="T3" fmla="*/ 1065 h 1070"/>
                  <a:gd name="T4" fmla="*/ 49 w 359"/>
                  <a:gd name="T5" fmla="*/ 1065 h 1070"/>
                  <a:gd name="T6" fmla="*/ 49 w 359"/>
                  <a:gd name="T7" fmla="*/ 1065 h 1070"/>
                  <a:gd name="T8" fmla="*/ 0 w 359"/>
                  <a:gd name="T9" fmla="*/ 1070 h 1070"/>
                  <a:gd name="T10" fmla="*/ 0 w 359"/>
                  <a:gd name="T11" fmla="*/ 25 h 1070"/>
                  <a:gd name="T12" fmla="*/ 24 w 359"/>
                  <a:gd name="T13" fmla="*/ 0 h 1070"/>
                  <a:gd name="T14" fmla="*/ 335 w 359"/>
                  <a:gd name="T15" fmla="*/ 0 h 1070"/>
                  <a:gd name="T16" fmla="*/ 359 w 359"/>
                  <a:gd name="T17" fmla="*/ 25 h 10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59" h="1070">
                    <a:moveTo>
                      <a:pt x="359" y="25"/>
                    </a:moveTo>
                    <a:lnTo>
                      <a:pt x="359" y="1065"/>
                    </a:lnTo>
                    <a:lnTo>
                      <a:pt x="49" y="1065"/>
                    </a:lnTo>
                    <a:lnTo>
                      <a:pt x="49" y="1065"/>
                    </a:lnTo>
                    <a:cubicBezTo>
                      <a:pt x="32" y="1065"/>
                      <a:pt x="16" y="1067"/>
                      <a:pt x="0" y="1070"/>
                    </a:cubicBezTo>
                    <a:lnTo>
                      <a:pt x="0" y="25"/>
                    </a:lnTo>
                    <a:cubicBezTo>
                      <a:pt x="0" y="12"/>
                      <a:pt x="11" y="0"/>
                      <a:pt x="24" y="0"/>
                    </a:cubicBezTo>
                    <a:lnTo>
                      <a:pt x="335" y="0"/>
                    </a:lnTo>
                    <a:cubicBezTo>
                      <a:pt x="348" y="0"/>
                      <a:pt x="359" y="12"/>
                      <a:pt x="359" y="25"/>
                    </a:cubicBezTo>
                    <a:close/>
                  </a:path>
                </a:pathLst>
              </a:custGeom>
              <a:solidFill>
                <a:srgbClr val="27D3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47" name="Freeform 11"/>
              <p:cNvSpPr>
                <a:spLocks/>
              </p:cNvSpPr>
              <p:nvPr/>
            </p:nvSpPr>
            <p:spPr bwMode="auto">
              <a:xfrm>
                <a:off x="1317" y="880"/>
                <a:ext cx="35" cy="208"/>
              </a:xfrm>
              <a:custGeom>
                <a:avLst/>
                <a:gdLst>
                  <a:gd name="T0" fmla="*/ 180 w 180"/>
                  <a:gd name="T1" fmla="*/ 25 h 1070"/>
                  <a:gd name="T2" fmla="*/ 180 w 180"/>
                  <a:gd name="T3" fmla="*/ 1070 h 1070"/>
                  <a:gd name="T4" fmla="*/ 132 w 180"/>
                  <a:gd name="T5" fmla="*/ 1065 h 1070"/>
                  <a:gd name="T6" fmla="*/ 132 w 180"/>
                  <a:gd name="T7" fmla="*/ 1065 h 1070"/>
                  <a:gd name="T8" fmla="*/ 0 w 180"/>
                  <a:gd name="T9" fmla="*/ 1065 h 1070"/>
                  <a:gd name="T10" fmla="*/ 0 w 180"/>
                  <a:gd name="T11" fmla="*/ 0 h 1070"/>
                  <a:gd name="T12" fmla="*/ 155 w 180"/>
                  <a:gd name="T13" fmla="*/ 0 h 1070"/>
                  <a:gd name="T14" fmla="*/ 180 w 180"/>
                  <a:gd name="T15" fmla="*/ 25 h 10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0" h="1070">
                    <a:moveTo>
                      <a:pt x="180" y="25"/>
                    </a:moveTo>
                    <a:lnTo>
                      <a:pt x="180" y="1070"/>
                    </a:lnTo>
                    <a:cubicBezTo>
                      <a:pt x="164" y="1066"/>
                      <a:pt x="148" y="1065"/>
                      <a:pt x="132" y="1065"/>
                    </a:cubicBezTo>
                    <a:lnTo>
                      <a:pt x="132" y="1065"/>
                    </a:lnTo>
                    <a:lnTo>
                      <a:pt x="0" y="1065"/>
                    </a:lnTo>
                    <a:lnTo>
                      <a:pt x="0" y="0"/>
                    </a:lnTo>
                    <a:lnTo>
                      <a:pt x="155" y="0"/>
                    </a:lnTo>
                    <a:cubicBezTo>
                      <a:pt x="169" y="0"/>
                      <a:pt x="180" y="12"/>
                      <a:pt x="180" y="25"/>
                    </a:cubicBezTo>
                    <a:close/>
                  </a:path>
                </a:pathLst>
              </a:custGeom>
              <a:solidFill>
                <a:srgbClr val="2C526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48" name="Freeform 12"/>
              <p:cNvSpPr>
                <a:spLocks/>
              </p:cNvSpPr>
              <p:nvPr/>
            </p:nvSpPr>
            <p:spPr bwMode="auto">
              <a:xfrm>
                <a:off x="1387" y="880"/>
                <a:ext cx="34" cy="240"/>
              </a:xfrm>
              <a:custGeom>
                <a:avLst/>
                <a:gdLst>
                  <a:gd name="T0" fmla="*/ 180 w 180"/>
                  <a:gd name="T1" fmla="*/ 25 h 1235"/>
                  <a:gd name="T2" fmla="*/ 180 w 180"/>
                  <a:gd name="T3" fmla="*/ 1070 h 1235"/>
                  <a:gd name="T4" fmla="*/ 68 w 180"/>
                  <a:gd name="T5" fmla="*/ 1132 h 1235"/>
                  <a:gd name="T6" fmla="*/ 68 w 180"/>
                  <a:gd name="T7" fmla="*/ 1132 h 1235"/>
                  <a:gd name="T8" fmla="*/ 8 w 180"/>
                  <a:gd name="T9" fmla="*/ 1235 h 1235"/>
                  <a:gd name="T10" fmla="*/ 0 w 180"/>
                  <a:gd name="T11" fmla="*/ 1235 h 1235"/>
                  <a:gd name="T12" fmla="*/ 0 w 180"/>
                  <a:gd name="T13" fmla="*/ 0 h 1235"/>
                  <a:gd name="T14" fmla="*/ 155 w 180"/>
                  <a:gd name="T15" fmla="*/ 0 h 1235"/>
                  <a:gd name="T16" fmla="*/ 180 w 180"/>
                  <a:gd name="T17" fmla="*/ 25 h 12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0" h="1235">
                    <a:moveTo>
                      <a:pt x="180" y="25"/>
                    </a:moveTo>
                    <a:lnTo>
                      <a:pt x="180" y="1070"/>
                    </a:lnTo>
                    <a:cubicBezTo>
                      <a:pt x="136" y="1080"/>
                      <a:pt x="98" y="1101"/>
                      <a:pt x="68" y="1132"/>
                    </a:cubicBezTo>
                    <a:lnTo>
                      <a:pt x="68" y="1132"/>
                    </a:lnTo>
                    <a:cubicBezTo>
                      <a:pt x="40" y="1160"/>
                      <a:pt x="19" y="1195"/>
                      <a:pt x="8" y="1235"/>
                    </a:cubicBezTo>
                    <a:lnTo>
                      <a:pt x="0" y="1235"/>
                    </a:lnTo>
                    <a:lnTo>
                      <a:pt x="0" y="0"/>
                    </a:lnTo>
                    <a:lnTo>
                      <a:pt x="155" y="0"/>
                    </a:lnTo>
                    <a:cubicBezTo>
                      <a:pt x="168" y="0"/>
                      <a:pt x="180" y="12"/>
                      <a:pt x="180" y="25"/>
                    </a:cubicBezTo>
                    <a:close/>
                  </a:path>
                </a:pathLst>
              </a:custGeom>
              <a:solidFill>
                <a:srgbClr val="2C526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49" name="Freeform 13"/>
              <p:cNvSpPr>
                <a:spLocks/>
              </p:cNvSpPr>
              <p:nvPr/>
            </p:nvSpPr>
            <p:spPr bwMode="auto">
              <a:xfrm>
                <a:off x="1456" y="880"/>
                <a:ext cx="35" cy="207"/>
              </a:xfrm>
              <a:custGeom>
                <a:avLst/>
                <a:gdLst>
                  <a:gd name="T0" fmla="*/ 180 w 180"/>
                  <a:gd name="T1" fmla="*/ 25 h 1065"/>
                  <a:gd name="T2" fmla="*/ 180 w 180"/>
                  <a:gd name="T3" fmla="*/ 1065 h 1065"/>
                  <a:gd name="T4" fmla="*/ 0 w 180"/>
                  <a:gd name="T5" fmla="*/ 1065 h 1065"/>
                  <a:gd name="T6" fmla="*/ 0 w 180"/>
                  <a:gd name="T7" fmla="*/ 0 h 1065"/>
                  <a:gd name="T8" fmla="*/ 156 w 180"/>
                  <a:gd name="T9" fmla="*/ 0 h 1065"/>
                  <a:gd name="T10" fmla="*/ 180 w 180"/>
                  <a:gd name="T11" fmla="*/ 25 h 10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0" h="1065">
                    <a:moveTo>
                      <a:pt x="180" y="25"/>
                    </a:moveTo>
                    <a:lnTo>
                      <a:pt x="180" y="1065"/>
                    </a:lnTo>
                    <a:lnTo>
                      <a:pt x="0" y="1065"/>
                    </a:lnTo>
                    <a:lnTo>
                      <a:pt x="0" y="0"/>
                    </a:lnTo>
                    <a:lnTo>
                      <a:pt x="156" y="0"/>
                    </a:lnTo>
                    <a:cubicBezTo>
                      <a:pt x="169" y="0"/>
                      <a:pt x="180" y="12"/>
                      <a:pt x="180" y="25"/>
                    </a:cubicBezTo>
                    <a:close/>
                  </a:path>
                </a:pathLst>
              </a:custGeom>
              <a:solidFill>
                <a:srgbClr val="00ADB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50" name="Rectangle 14"/>
              <p:cNvSpPr>
                <a:spLocks noChangeArrowheads="1"/>
              </p:cNvSpPr>
              <p:nvPr/>
            </p:nvSpPr>
            <p:spPr bwMode="auto">
              <a:xfrm>
                <a:off x="1286" y="913"/>
                <a:ext cx="61" cy="28"/>
              </a:xfrm>
              <a:prstGeom prst="rect">
                <a:avLst/>
              </a:prstGeom>
              <a:solidFill>
                <a:srgbClr val="FFD0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51" name="Rectangle 15"/>
              <p:cNvSpPr>
                <a:spLocks noChangeArrowheads="1"/>
              </p:cNvSpPr>
              <p:nvPr/>
            </p:nvSpPr>
            <p:spPr bwMode="auto">
              <a:xfrm>
                <a:off x="1286" y="903"/>
                <a:ext cx="61" cy="7"/>
              </a:xfrm>
              <a:prstGeom prst="rect">
                <a:avLst/>
              </a:prstGeom>
              <a:solidFill>
                <a:srgbClr val="FFEA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52" name="Rectangle 16"/>
              <p:cNvSpPr>
                <a:spLocks noChangeArrowheads="1"/>
              </p:cNvSpPr>
              <p:nvPr/>
            </p:nvSpPr>
            <p:spPr bwMode="auto">
              <a:xfrm>
                <a:off x="1356" y="913"/>
                <a:ext cx="61" cy="28"/>
              </a:xfrm>
              <a:prstGeom prst="rect">
                <a:avLst/>
              </a:prstGeom>
              <a:solidFill>
                <a:srgbClr val="FFD0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53" name="Rectangle 17"/>
              <p:cNvSpPr>
                <a:spLocks noChangeArrowheads="1"/>
              </p:cNvSpPr>
              <p:nvPr/>
            </p:nvSpPr>
            <p:spPr bwMode="auto">
              <a:xfrm>
                <a:off x="1356" y="903"/>
                <a:ext cx="61" cy="7"/>
              </a:xfrm>
              <a:prstGeom prst="rect">
                <a:avLst/>
              </a:prstGeom>
              <a:solidFill>
                <a:srgbClr val="FFEA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54" name="Rectangle 18"/>
              <p:cNvSpPr>
                <a:spLocks noChangeArrowheads="1"/>
              </p:cNvSpPr>
              <p:nvPr/>
            </p:nvSpPr>
            <p:spPr bwMode="auto">
              <a:xfrm>
                <a:off x="1426" y="913"/>
                <a:ext cx="61" cy="28"/>
              </a:xfrm>
              <a:prstGeom prst="rect">
                <a:avLst/>
              </a:prstGeom>
              <a:solidFill>
                <a:srgbClr val="FFD0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55" name="Rectangle 19"/>
              <p:cNvSpPr>
                <a:spLocks noChangeArrowheads="1"/>
              </p:cNvSpPr>
              <p:nvPr/>
            </p:nvSpPr>
            <p:spPr bwMode="auto">
              <a:xfrm>
                <a:off x="1426" y="903"/>
                <a:ext cx="61" cy="7"/>
              </a:xfrm>
              <a:prstGeom prst="rect">
                <a:avLst/>
              </a:prstGeom>
              <a:solidFill>
                <a:srgbClr val="FFEA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56" name="Rectangle 20"/>
              <p:cNvSpPr>
                <a:spLocks noChangeArrowheads="1"/>
              </p:cNvSpPr>
              <p:nvPr/>
            </p:nvSpPr>
            <p:spPr bwMode="auto">
              <a:xfrm>
                <a:off x="1317" y="913"/>
                <a:ext cx="30" cy="28"/>
              </a:xfrm>
              <a:prstGeom prst="rect">
                <a:avLst/>
              </a:prstGeom>
              <a:solidFill>
                <a:srgbClr val="F2AE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57" name="Rectangle 21"/>
              <p:cNvSpPr>
                <a:spLocks noChangeArrowheads="1"/>
              </p:cNvSpPr>
              <p:nvPr/>
            </p:nvSpPr>
            <p:spPr bwMode="auto">
              <a:xfrm>
                <a:off x="1317" y="903"/>
                <a:ext cx="30" cy="7"/>
              </a:xfrm>
              <a:prstGeom prst="rect">
                <a:avLst/>
              </a:prstGeom>
              <a:solidFill>
                <a:srgbClr val="FFD0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58" name="Rectangle 22"/>
              <p:cNvSpPr>
                <a:spLocks noChangeArrowheads="1"/>
              </p:cNvSpPr>
              <p:nvPr/>
            </p:nvSpPr>
            <p:spPr bwMode="auto">
              <a:xfrm>
                <a:off x="1387" y="913"/>
                <a:ext cx="30" cy="28"/>
              </a:xfrm>
              <a:prstGeom prst="rect">
                <a:avLst/>
              </a:prstGeom>
              <a:solidFill>
                <a:srgbClr val="F2AE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59" name="Rectangle 23"/>
              <p:cNvSpPr>
                <a:spLocks noChangeArrowheads="1"/>
              </p:cNvSpPr>
              <p:nvPr/>
            </p:nvSpPr>
            <p:spPr bwMode="auto">
              <a:xfrm>
                <a:off x="1387" y="903"/>
                <a:ext cx="30" cy="7"/>
              </a:xfrm>
              <a:prstGeom prst="rect">
                <a:avLst/>
              </a:prstGeom>
              <a:solidFill>
                <a:srgbClr val="FFD0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60" name="Rectangle 24"/>
              <p:cNvSpPr>
                <a:spLocks noChangeArrowheads="1"/>
              </p:cNvSpPr>
              <p:nvPr/>
            </p:nvSpPr>
            <p:spPr bwMode="auto">
              <a:xfrm>
                <a:off x="1456" y="913"/>
                <a:ext cx="31" cy="28"/>
              </a:xfrm>
              <a:prstGeom prst="rect">
                <a:avLst/>
              </a:prstGeom>
              <a:solidFill>
                <a:srgbClr val="F2AE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61" name="Rectangle 25"/>
              <p:cNvSpPr>
                <a:spLocks noChangeArrowheads="1"/>
              </p:cNvSpPr>
              <p:nvPr/>
            </p:nvSpPr>
            <p:spPr bwMode="auto">
              <a:xfrm>
                <a:off x="1456" y="903"/>
                <a:ext cx="31" cy="7"/>
              </a:xfrm>
              <a:prstGeom prst="rect">
                <a:avLst/>
              </a:prstGeom>
              <a:solidFill>
                <a:srgbClr val="FFD0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62" name="Freeform 26"/>
              <p:cNvSpPr>
                <a:spLocks noEditPoints="1"/>
              </p:cNvSpPr>
              <p:nvPr/>
            </p:nvSpPr>
            <p:spPr bwMode="auto">
              <a:xfrm>
                <a:off x="1491" y="877"/>
                <a:ext cx="120" cy="337"/>
              </a:xfrm>
              <a:custGeom>
                <a:avLst/>
                <a:gdLst>
                  <a:gd name="T0" fmla="*/ 357 w 618"/>
                  <a:gd name="T1" fmla="*/ 22 h 1739"/>
                  <a:gd name="T2" fmla="*/ 524 w 618"/>
                  <a:gd name="T3" fmla="*/ 1080 h 1739"/>
                  <a:gd name="T4" fmla="*/ 160 w 618"/>
                  <a:gd name="T5" fmla="*/ 1080 h 1739"/>
                  <a:gd name="T6" fmla="*/ 2 w 618"/>
                  <a:gd name="T7" fmla="*/ 78 h 1739"/>
                  <a:gd name="T8" fmla="*/ 22 w 618"/>
                  <a:gd name="T9" fmla="*/ 50 h 1739"/>
                  <a:gd name="T10" fmla="*/ 329 w 618"/>
                  <a:gd name="T11" fmla="*/ 2 h 1739"/>
                  <a:gd name="T12" fmla="*/ 357 w 618"/>
                  <a:gd name="T13" fmla="*/ 22 h 1739"/>
                  <a:gd name="T14" fmla="*/ 568 w 618"/>
                  <a:gd name="T15" fmla="*/ 1358 h 1739"/>
                  <a:gd name="T16" fmla="*/ 615 w 618"/>
                  <a:gd name="T17" fmla="*/ 1661 h 1739"/>
                  <a:gd name="T18" fmla="*/ 595 w 618"/>
                  <a:gd name="T19" fmla="*/ 1689 h 1739"/>
                  <a:gd name="T20" fmla="*/ 288 w 618"/>
                  <a:gd name="T21" fmla="*/ 1737 h 1739"/>
                  <a:gd name="T22" fmla="*/ 260 w 618"/>
                  <a:gd name="T23" fmla="*/ 1717 h 1739"/>
                  <a:gd name="T24" fmla="*/ 204 w 618"/>
                  <a:gd name="T25" fmla="*/ 1358 h 1739"/>
                  <a:gd name="T26" fmla="*/ 568 w 618"/>
                  <a:gd name="T27" fmla="*/ 1358 h 17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18" h="1739">
                    <a:moveTo>
                      <a:pt x="357" y="22"/>
                    </a:moveTo>
                    <a:lnTo>
                      <a:pt x="524" y="1080"/>
                    </a:lnTo>
                    <a:lnTo>
                      <a:pt x="160" y="1080"/>
                    </a:lnTo>
                    <a:lnTo>
                      <a:pt x="2" y="78"/>
                    </a:lnTo>
                    <a:cubicBezTo>
                      <a:pt x="0" y="65"/>
                      <a:pt x="9" y="52"/>
                      <a:pt x="22" y="50"/>
                    </a:cubicBezTo>
                    <a:lnTo>
                      <a:pt x="329" y="2"/>
                    </a:lnTo>
                    <a:cubicBezTo>
                      <a:pt x="343" y="0"/>
                      <a:pt x="355" y="9"/>
                      <a:pt x="357" y="22"/>
                    </a:cubicBezTo>
                    <a:close/>
                    <a:moveTo>
                      <a:pt x="568" y="1358"/>
                    </a:moveTo>
                    <a:lnTo>
                      <a:pt x="615" y="1661"/>
                    </a:lnTo>
                    <a:cubicBezTo>
                      <a:pt x="618" y="1674"/>
                      <a:pt x="608" y="1687"/>
                      <a:pt x="595" y="1689"/>
                    </a:cubicBezTo>
                    <a:lnTo>
                      <a:pt x="288" y="1737"/>
                    </a:lnTo>
                    <a:cubicBezTo>
                      <a:pt x="275" y="1739"/>
                      <a:pt x="262" y="1730"/>
                      <a:pt x="260" y="1717"/>
                    </a:cubicBezTo>
                    <a:lnTo>
                      <a:pt x="204" y="1358"/>
                    </a:lnTo>
                    <a:lnTo>
                      <a:pt x="568" y="1358"/>
                    </a:lnTo>
                    <a:close/>
                  </a:path>
                </a:pathLst>
              </a:custGeom>
              <a:solidFill>
                <a:srgbClr val="27D3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63" name="Freeform 27"/>
              <p:cNvSpPr>
                <a:spLocks noEditPoints="1"/>
              </p:cNvSpPr>
              <p:nvPr/>
            </p:nvSpPr>
            <p:spPr bwMode="auto">
              <a:xfrm>
                <a:off x="1525" y="877"/>
                <a:ext cx="86" cy="332"/>
              </a:xfrm>
              <a:custGeom>
                <a:avLst/>
                <a:gdLst>
                  <a:gd name="T0" fmla="*/ 181 w 442"/>
                  <a:gd name="T1" fmla="*/ 22 h 1713"/>
                  <a:gd name="T2" fmla="*/ 348 w 442"/>
                  <a:gd name="T3" fmla="*/ 1080 h 1713"/>
                  <a:gd name="T4" fmla="*/ 166 w 442"/>
                  <a:gd name="T5" fmla="*/ 1080 h 1713"/>
                  <a:gd name="T6" fmla="*/ 0 w 442"/>
                  <a:gd name="T7" fmla="*/ 26 h 1713"/>
                  <a:gd name="T8" fmla="*/ 153 w 442"/>
                  <a:gd name="T9" fmla="*/ 2 h 1713"/>
                  <a:gd name="T10" fmla="*/ 181 w 442"/>
                  <a:gd name="T11" fmla="*/ 22 h 1713"/>
                  <a:gd name="T12" fmla="*/ 392 w 442"/>
                  <a:gd name="T13" fmla="*/ 1358 h 1713"/>
                  <a:gd name="T14" fmla="*/ 439 w 442"/>
                  <a:gd name="T15" fmla="*/ 1661 h 1713"/>
                  <a:gd name="T16" fmla="*/ 419 w 442"/>
                  <a:gd name="T17" fmla="*/ 1689 h 1713"/>
                  <a:gd name="T18" fmla="*/ 266 w 442"/>
                  <a:gd name="T19" fmla="*/ 1713 h 1713"/>
                  <a:gd name="T20" fmla="*/ 210 w 442"/>
                  <a:gd name="T21" fmla="*/ 1358 h 1713"/>
                  <a:gd name="T22" fmla="*/ 392 w 442"/>
                  <a:gd name="T23" fmla="*/ 1358 h 17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42" h="1713">
                    <a:moveTo>
                      <a:pt x="181" y="22"/>
                    </a:moveTo>
                    <a:lnTo>
                      <a:pt x="348" y="1080"/>
                    </a:lnTo>
                    <a:lnTo>
                      <a:pt x="166" y="1080"/>
                    </a:lnTo>
                    <a:lnTo>
                      <a:pt x="0" y="26"/>
                    </a:lnTo>
                    <a:lnTo>
                      <a:pt x="153" y="2"/>
                    </a:lnTo>
                    <a:cubicBezTo>
                      <a:pt x="167" y="0"/>
                      <a:pt x="179" y="9"/>
                      <a:pt x="181" y="22"/>
                    </a:cubicBezTo>
                    <a:close/>
                    <a:moveTo>
                      <a:pt x="392" y="1358"/>
                    </a:moveTo>
                    <a:lnTo>
                      <a:pt x="439" y="1661"/>
                    </a:lnTo>
                    <a:cubicBezTo>
                      <a:pt x="442" y="1674"/>
                      <a:pt x="432" y="1687"/>
                      <a:pt x="419" y="1689"/>
                    </a:cubicBezTo>
                    <a:lnTo>
                      <a:pt x="266" y="1713"/>
                    </a:lnTo>
                    <a:lnTo>
                      <a:pt x="210" y="1358"/>
                    </a:lnTo>
                    <a:lnTo>
                      <a:pt x="392" y="1358"/>
                    </a:lnTo>
                    <a:close/>
                  </a:path>
                </a:pathLst>
              </a:custGeom>
              <a:solidFill>
                <a:srgbClr val="00ADB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64" name="Freeform 28"/>
              <p:cNvSpPr>
                <a:spLocks/>
              </p:cNvSpPr>
              <p:nvPr/>
            </p:nvSpPr>
            <p:spPr bwMode="auto">
              <a:xfrm>
                <a:off x="1537" y="1150"/>
                <a:ext cx="65" cy="37"/>
              </a:xfrm>
              <a:custGeom>
                <a:avLst/>
                <a:gdLst>
                  <a:gd name="T0" fmla="*/ 312 w 334"/>
                  <a:gd name="T1" fmla="*/ 0 h 191"/>
                  <a:gd name="T2" fmla="*/ 334 w 334"/>
                  <a:gd name="T3" fmla="*/ 142 h 191"/>
                  <a:gd name="T4" fmla="*/ 22 w 334"/>
                  <a:gd name="T5" fmla="*/ 191 h 191"/>
                  <a:gd name="T6" fmla="*/ 0 w 334"/>
                  <a:gd name="T7" fmla="*/ 49 h 191"/>
                  <a:gd name="T8" fmla="*/ 312 w 334"/>
                  <a:gd name="T9" fmla="*/ 0 h 1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4" h="191">
                    <a:moveTo>
                      <a:pt x="312" y="0"/>
                    </a:moveTo>
                    <a:lnTo>
                      <a:pt x="334" y="142"/>
                    </a:lnTo>
                    <a:lnTo>
                      <a:pt x="22" y="191"/>
                    </a:lnTo>
                    <a:lnTo>
                      <a:pt x="0" y="49"/>
                    </a:lnTo>
                    <a:lnTo>
                      <a:pt x="312" y="0"/>
                    </a:lnTo>
                    <a:close/>
                  </a:path>
                </a:pathLst>
              </a:custGeom>
              <a:solidFill>
                <a:srgbClr val="FFD0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65" name="Freeform 29"/>
              <p:cNvSpPr>
                <a:spLocks/>
              </p:cNvSpPr>
              <p:nvPr/>
            </p:nvSpPr>
            <p:spPr bwMode="auto">
              <a:xfrm>
                <a:off x="1500" y="910"/>
                <a:ext cx="65" cy="37"/>
              </a:xfrm>
              <a:custGeom>
                <a:avLst/>
                <a:gdLst>
                  <a:gd name="T0" fmla="*/ 312 w 335"/>
                  <a:gd name="T1" fmla="*/ 0 h 191"/>
                  <a:gd name="T2" fmla="*/ 335 w 335"/>
                  <a:gd name="T3" fmla="*/ 142 h 191"/>
                  <a:gd name="T4" fmla="*/ 22 w 335"/>
                  <a:gd name="T5" fmla="*/ 191 h 191"/>
                  <a:gd name="T6" fmla="*/ 0 w 335"/>
                  <a:gd name="T7" fmla="*/ 49 h 191"/>
                  <a:gd name="T8" fmla="*/ 312 w 335"/>
                  <a:gd name="T9" fmla="*/ 0 h 1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5" h="191">
                    <a:moveTo>
                      <a:pt x="312" y="0"/>
                    </a:moveTo>
                    <a:lnTo>
                      <a:pt x="335" y="142"/>
                    </a:lnTo>
                    <a:lnTo>
                      <a:pt x="22" y="191"/>
                    </a:lnTo>
                    <a:lnTo>
                      <a:pt x="0" y="49"/>
                    </a:lnTo>
                    <a:lnTo>
                      <a:pt x="312" y="0"/>
                    </a:lnTo>
                    <a:close/>
                  </a:path>
                </a:pathLst>
              </a:custGeom>
              <a:solidFill>
                <a:srgbClr val="FFD0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66" name="Freeform 30"/>
              <p:cNvSpPr>
                <a:spLocks/>
              </p:cNvSpPr>
              <p:nvPr/>
            </p:nvSpPr>
            <p:spPr bwMode="auto">
              <a:xfrm>
                <a:off x="1536" y="1141"/>
                <a:ext cx="61" cy="15"/>
              </a:xfrm>
              <a:custGeom>
                <a:avLst/>
                <a:gdLst>
                  <a:gd name="T0" fmla="*/ 313 w 317"/>
                  <a:gd name="T1" fmla="*/ 0 h 78"/>
                  <a:gd name="T2" fmla="*/ 317 w 317"/>
                  <a:gd name="T3" fmla="*/ 29 h 78"/>
                  <a:gd name="T4" fmla="*/ 5 w 317"/>
                  <a:gd name="T5" fmla="*/ 78 h 78"/>
                  <a:gd name="T6" fmla="*/ 0 w 317"/>
                  <a:gd name="T7" fmla="*/ 44 h 78"/>
                  <a:gd name="T8" fmla="*/ 274 w 317"/>
                  <a:gd name="T9" fmla="*/ 0 h 78"/>
                  <a:gd name="T10" fmla="*/ 313 w 317"/>
                  <a:gd name="T11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17" h="78">
                    <a:moveTo>
                      <a:pt x="313" y="0"/>
                    </a:moveTo>
                    <a:lnTo>
                      <a:pt x="317" y="29"/>
                    </a:lnTo>
                    <a:lnTo>
                      <a:pt x="5" y="78"/>
                    </a:lnTo>
                    <a:lnTo>
                      <a:pt x="0" y="44"/>
                    </a:lnTo>
                    <a:lnTo>
                      <a:pt x="274" y="0"/>
                    </a:lnTo>
                    <a:lnTo>
                      <a:pt x="313" y="0"/>
                    </a:lnTo>
                    <a:close/>
                  </a:path>
                </a:pathLst>
              </a:custGeom>
              <a:solidFill>
                <a:srgbClr val="FFEA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67" name="Freeform 31"/>
              <p:cNvSpPr>
                <a:spLocks/>
              </p:cNvSpPr>
              <p:nvPr/>
            </p:nvSpPr>
            <p:spPr bwMode="auto">
              <a:xfrm>
                <a:off x="1498" y="900"/>
                <a:ext cx="62" cy="16"/>
              </a:xfrm>
              <a:custGeom>
                <a:avLst/>
                <a:gdLst>
                  <a:gd name="T0" fmla="*/ 312 w 317"/>
                  <a:gd name="T1" fmla="*/ 0 h 84"/>
                  <a:gd name="T2" fmla="*/ 317 w 317"/>
                  <a:gd name="T3" fmla="*/ 35 h 84"/>
                  <a:gd name="T4" fmla="*/ 5 w 317"/>
                  <a:gd name="T5" fmla="*/ 84 h 84"/>
                  <a:gd name="T6" fmla="*/ 0 w 317"/>
                  <a:gd name="T7" fmla="*/ 49 h 84"/>
                  <a:gd name="T8" fmla="*/ 312 w 317"/>
                  <a:gd name="T9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7" h="84">
                    <a:moveTo>
                      <a:pt x="312" y="0"/>
                    </a:moveTo>
                    <a:lnTo>
                      <a:pt x="317" y="35"/>
                    </a:lnTo>
                    <a:lnTo>
                      <a:pt x="5" y="84"/>
                    </a:lnTo>
                    <a:lnTo>
                      <a:pt x="0" y="49"/>
                    </a:lnTo>
                    <a:lnTo>
                      <a:pt x="312" y="0"/>
                    </a:lnTo>
                    <a:close/>
                  </a:path>
                </a:pathLst>
              </a:custGeom>
              <a:solidFill>
                <a:srgbClr val="FFEA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68" name="Freeform 32"/>
              <p:cNvSpPr>
                <a:spLocks/>
              </p:cNvSpPr>
              <p:nvPr/>
            </p:nvSpPr>
            <p:spPr bwMode="auto">
              <a:xfrm>
                <a:off x="1568" y="1150"/>
                <a:ext cx="34" cy="32"/>
              </a:xfrm>
              <a:custGeom>
                <a:avLst/>
                <a:gdLst>
                  <a:gd name="T0" fmla="*/ 156 w 178"/>
                  <a:gd name="T1" fmla="*/ 0 h 166"/>
                  <a:gd name="T2" fmla="*/ 178 w 178"/>
                  <a:gd name="T3" fmla="*/ 142 h 166"/>
                  <a:gd name="T4" fmla="*/ 22 w 178"/>
                  <a:gd name="T5" fmla="*/ 166 h 166"/>
                  <a:gd name="T6" fmla="*/ 0 w 178"/>
                  <a:gd name="T7" fmla="*/ 25 h 166"/>
                  <a:gd name="T8" fmla="*/ 156 w 178"/>
                  <a:gd name="T9" fmla="*/ 0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8" h="166">
                    <a:moveTo>
                      <a:pt x="156" y="0"/>
                    </a:moveTo>
                    <a:lnTo>
                      <a:pt x="178" y="142"/>
                    </a:lnTo>
                    <a:lnTo>
                      <a:pt x="22" y="166"/>
                    </a:lnTo>
                    <a:lnTo>
                      <a:pt x="0" y="25"/>
                    </a:lnTo>
                    <a:lnTo>
                      <a:pt x="156" y="0"/>
                    </a:lnTo>
                    <a:close/>
                  </a:path>
                </a:pathLst>
              </a:custGeom>
              <a:solidFill>
                <a:srgbClr val="F2AE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69" name="Freeform 33"/>
              <p:cNvSpPr>
                <a:spLocks/>
              </p:cNvSpPr>
              <p:nvPr/>
            </p:nvSpPr>
            <p:spPr bwMode="auto">
              <a:xfrm>
                <a:off x="1530" y="910"/>
                <a:ext cx="35" cy="32"/>
              </a:xfrm>
              <a:custGeom>
                <a:avLst/>
                <a:gdLst>
                  <a:gd name="T0" fmla="*/ 156 w 179"/>
                  <a:gd name="T1" fmla="*/ 0 h 166"/>
                  <a:gd name="T2" fmla="*/ 179 w 179"/>
                  <a:gd name="T3" fmla="*/ 142 h 166"/>
                  <a:gd name="T4" fmla="*/ 22 w 179"/>
                  <a:gd name="T5" fmla="*/ 166 h 166"/>
                  <a:gd name="T6" fmla="*/ 0 w 179"/>
                  <a:gd name="T7" fmla="*/ 25 h 166"/>
                  <a:gd name="T8" fmla="*/ 156 w 179"/>
                  <a:gd name="T9" fmla="*/ 0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9" h="166">
                    <a:moveTo>
                      <a:pt x="156" y="0"/>
                    </a:moveTo>
                    <a:lnTo>
                      <a:pt x="179" y="142"/>
                    </a:lnTo>
                    <a:lnTo>
                      <a:pt x="22" y="166"/>
                    </a:lnTo>
                    <a:lnTo>
                      <a:pt x="0" y="25"/>
                    </a:lnTo>
                    <a:lnTo>
                      <a:pt x="156" y="0"/>
                    </a:lnTo>
                    <a:close/>
                  </a:path>
                </a:pathLst>
              </a:custGeom>
              <a:solidFill>
                <a:srgbClr val="F2AE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70" name="Freeform 34"/>
              <p:cNvSpPr>
                <a:spLocks/>
              </p:cNvSpPr>
              <p:nvPr/>
            </p:nvSpPr>
            <p:spPr bwMode="auto">
              <a:xfrm>
                <a:off x="1566" y="1141"/>
                <a:ext cx="31" cy="10"/>
              </a:xfrm>
              <a:custGeom>
                <a:avLst/>
                <a:gdLst>
                  <a:gd name="T0" fmla="*/ 157 w 161"/>
                  <a:gd name="T1" fmla="*/ 0 h 53"/>
                  <a:gd name="T2" fmla="*/ 161 w 161"/>
                  <a:gd name="T3" fmla="*/ 29 h 53"/>
                  <a:gd name="T4" fmla="*/ 5 w 161"/>
                  <a:gd name="T5" fmla="*/ 53 h 53"/>
                  <a:gd name="T6" fmla="*/ 0 w 161"/>
                  <a:gd name="T7" fmla="*/ 19 h 53"/>
                  <a:gd name="T8" fmla="*/ 118 w 161"/>
                  <a:gd name="T9" fmla="*/ 0 h 53"/>
                  <a:gd name="T10" fmla="*/ 157 w 161"/>
                  <a:gd name="T11" fmla="*/ 0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1" h="53">
                    <a:moveTo>
                      <a:pt x="157" y="0"/>
                    </a:moveTo>
                    <a:lnTo>
                      <a:pt x="161" y="29"/>
                    </a:lnTo>
                    <a:lnTo>
                      <a:pt x="5" y="53"/>
                    </a:lnTo>
                    <a:lnTo>
                      <a:pt x="0" y="19"/>
                    </a:lnTo>
                    <a:lnTo>
                      <a:pt x="118" y="0"/>
                    </a:lnTo>
                    <a:lnTo>
                      <a:pt x="157" y="0"/>
                    </a:lnTo>
                    <a:close/>
                  </a:path>
                </a:pathLst>
              </a:custGeom>
              <a:solidFill>
                <a:srgbClr val="FFD0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71" name="Freeform 35"/>
              <p:cNvSpPr>
                <a:spLocks/>
              </p:cNvSpPr>
              <p:nvPr/>
            </p:nvSpPr>
            <p:spPr bwMode="auto">
              <a:xfrm>
                <a:off x="1528" y="900"/>
                <a:ext cx="32" cy="11"/>
              </a:xfrm>
              <a:custGeom>
                <a:avLst/>
                <a:gdLst>
                  <a:gd name="T0" fmla="*/ 156 w 161"/>
                  <a:gd name="T1" fmla="*/ 0 h 59"/>
                  <a:gd name="T2" fmla="*/ 161 w 161"/>
                  <a:gd name="T3" fmla="*/ 35 h 59"/>
                  <a:gd name="T4" fmla="*/ 5 w 161"/>
                  <a:gd name="T5" fmla="*/ 59 h 59"/>
                  <a:gd name="T6" fmla="*/ 0 w 161"/>
                  <a:gd name="T7" fmla="*/ 25 h 59"/>
                  <a:gd name="T8" fmla="*/ 156 w 161"/>
                  <a:gd name="T9" fmla="*/ 0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1" h="59">
                    <a:moveTo>
                      <a:pt x="156" y="0"/>
                    </a:moveTo>
                    <a:lnTo>
                      <a:pt x="161" y="35"/>
                    </a:lnTo>
                    <a:lnTo>
                      <a:pt x="5" y="59"/>
                    </a:lnTo>
                    <a:lnTo>
                      <a:pt x="0" y="25"/>
                    </a:lnTo>
                    <a:lnTo>
                      <a:pt x="156" y="0"/>
                    </a:lnTo>
                    <a:close/>
                  </a:path>
                </a:pathLst>
              </a:custGeom>
              <a:solidFill>
                <a:srgbClr val="FFD0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72" name="Freeform 36"/>
              <p:cNvSpPr>
                <a:spLocks/>
              </p:cNvSpPr>
              <p:nvPr/>
            </p:nvSpPr>
            <p:spPr bwMode="auto">
              <a:xfrm>
                <a:off x="989" y="631"/>
                <a:ext cx="107" cy="4"/>
              </a:xfrm>
              <a:custGeom>
                <a:avLst/>
                <a:gdLst>
                  <a:gd name="T0" fmla="*/ 552 w 552"/>
                  <a:gd name="T1" fmla="*/ 0 h 24"/>
                  <a:gd name="T2" fmla="*/ 0 w 552"/>
                  <a:gd name="T3" fmla="*/ 0 h 24"/>
                  <a:gd name="T4" fmla="*/ 9 w 552"/>
                  <a:gd name="T5" fmla="*/ 24 h 24"/>
                  <a:gd name="T6" fmla="*/ 552 w 552"/>
                  <a:gd name="T7" fmla="*/ 24 h 24"/>
                  <a:gd name="T8" fmla="*/ 552 w 552"/>
                  <a:gd name="T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52" h="24">
                    <a:moveTo>
                      <a:pt x="552" y="0"/>
                    </a:moveTo>
                    <a:lnTo>
                      <a:pt x="0" y="0"/>
                    </a:lnTo>
                    <a:cubicBezTo>
                      <a:pt x="3" y="7"/>
                      <a:pt x="6" y="15"/>
                      <a:pt x="9" y="24"/>
                    </a:cubicBezTo>
                    <a:lnTo>
                      <a:pt x="552" y="24"/>
                    </a:lnTo>
                    <a:lnTo>
                      <a:pt x="552" y="0"/>
                    </a:lnTo>
                    <a:close/>
                  </a:path>
                </a:pathLst>
              </a:cu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73" name="Freeform 37"/>
              <p:cNvSpPr>
                <a:spLocks/>
              </p:cNvSpPr>
              <p:nvPr/>
            </p:nvSpPr>
            <p:spPr bwMode="auto">
              <a:xfrm>
                <a:off x="992" y="640"/>
                <a:ext cx="104" cy="4"/>
              </a:xfrm>
              <a:custGeom>
                <a:avLst/>
                <a:gdLst>
                  <a:gd name="T0" fmla="*/ 537 w 537"/>
                  <a:gd name="T1" fmla="*/ 0 h 23"/>
                  <a:gd name="T2" fmla="*/ 0 w 537"/>
                  <a:gd name="T3" fmla="*/ 0 h 23"/>
                  <a:gd name="T4" fmla="*/ 4 w 537"/>
                  <a:gd name="T5" fmla="*/ 23 h 23"/>
                  <a:gd name="T6" fmla="*/ 537 w 537"/>
                  <a:gd name="T7" fmla="*/ 23 h 23"/>
                  <a:gd name="T8" fmla="*/ 537 w 537"/>
                  <a:gd name="T9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7" h="23">
                    <a:moveTo>
                      <a:pt x="537" y="0"/>
                    </a:moveTo>
                    <a:lnTo>
                      <a:pt x="0" y="0"/>
                    </a:lnTo>
                    <a:cubicBezTo>
                      <a:pt x="2" y="7"/>
                      <a:pt x="3" y="15"/>
                      <a:pt x="4" y="23"/>
                    </a:cubicBezTo>
                    <a:lnTo>
                      <a:pt x="537" y="23"/>
                    </a:lnTo>
                    <a:lnTo>
                      <a:pt x="537" y="0"/>
                    </a:lnTo>
                    <a:close/>
                  </a:path>
                </a:pathLst>
              </a:cu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74" name="Freeform 38"/>
              <p:cNvSpPr>
                <a:spLocks/>
              </p:cNvSpPr>
              <p:nvPr/>
            </p:nvSpPr>
            <p:spPr bwMode="auto">
              <a:xfrm>
                <a:off x="993" y="649"/>
                <a:ext cx="103" cy="4"/>
              </a:xfrm>
              <a:custGeom>
                <a:avLst/>
                <a:gdLst>
                  <a:gd name="T0" fmla="*/ 530 w 530"/>
                  <a:gd name="T1" fmla="*/ 0 h 23"/>
                  <a:gd name="T2" fmla="*/ 0 w 530"/>
                  <a:gd name="T3" fmla="*/ 0 h 23"/>
                  <a:gd name="T4" fmla="*/ 2 w 530"/>
                  <a:gd name="T5" fmla="*/ 23 h 23"/>
                  <a:gd name="T6" fmla="*/ 530 w 530"/>
                  <a:gd name="T7" fmla="*/ 23 h 23"/>
                  <a:gd name="T8" fmla="*/ 530 w 530"/>
                  <a:gd name="T9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0" h="23">
                    <a:moveTo>
                      <a:pt x="530" y="0"/>
                    </a:moveTo>
                    <a:lnTo>
                      <a:pt x="0" y="0"/>
                    </a:lnTo>
                    <a:cubicBezTo>
                      <a:pt x="1" y="7"/>
                      <a:pt x="1" y="15"/>
                      <a:pt x="2" y="23"/>
                    </a:cubicBezTo>
                    <a:lnTo>
                      <a:pt x="530" y="23"/>
                    </a:lnTo>
                    <a:lnTo>
                      <a:pt x="530" y="0"/>
                    </a:lnTo>
                    <a:close/>
                  </a:path>
                </a:pathLst>
              </a:cu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75" name="Freeform 39"/>
              <p:cNvSpPr>
                <a:spLocks/>
              </p:cNvSpPr>
              <p:nvPr/>
            </p:nvSpPr>
            <p:spPr bwMode="auto">
              <a:xfrm>
                <a:off x="993" y="658"/>
                <a:ext cx="103" cy="5"/>
              </a:xfrm>
              <a:custGeom>
                <a:avLst/>
                <a:gdLst>
                  <a:gd name="T0" fmla="*/ 528 w 528"/>
                  <a:gd name="T1" fmla="*/ 0 h 24"/>
                  <a:gd name="T2" fmla="*/ 1 w 528"/>
                  <a:gd name="T3" fmla="*/ 0 h 24"/>
                  <a:gd name="T4" fmla="*/ 1 w 528"/>
                  <a:gd name="T5" fmla="*/ 8 h 24"/>
                  <a:gd name="T6" fmla="*/ 0 w 528"/>
                  <a:gd name="T7" fmla="*/ 24 h 24"/>
                  <a:gd name="T8" fmla="*/ 528 w 528"/>
                  <a:gd name="T9" fmla="*/ 24 h 24"/>
                  <a:gd name="T10" fmla="*/ 528 w 528"/>
                  <a:gd name="T11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28" h="24">
                    <a:moveTo>
                      <a:pt x="528" y="0"/>
                    </a:moveTo>
                    <a:lnTo>
                      <a:pt x="1" y="0"/>
                    </a:lnTo>
                    <a:cubicBezTo>
                      <a:pt x="1" y="3"/>
                      <a:pt x="1" y="6"/>
                      <a:pt x="1" y="8"/>
                    </a:cubicBezTo>
                    <a:cubicBezTo>
                      <a:pt x="1" y="13"/>
                      <a:pt x="1" y="19"/>
                      <a:pt x="0" y="24"/>
                    </a:cubicBezTo>
                    <a:lnTo>
                      <a:pt x="528" y="24"/>
                    </a:lnTo>
                    <a:lnTo>
                      <a:pt x="528" y="0"/>
                    </a:lnTo>
                    <a:close/>
                  </a:path>
                </a:pathLst>
              </a:cu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76" name="Freeform 40"/>
              <p:cNvSpPr>
                <a:spLocks/>
              </p:cNvSpPr>
              <p:nvPr/>
            </p:nvSpPr>
            <p:spPr bwMode="auto">
              <a:xfrm>
                <a:off x="993" y="667"/>
                <a:ext cx="103" cy="4"/>
              </a:xfrm>
              <a:custGeom>
                <a:avLst/>
                <a:gdLst>
                  <a:gd name="T0" fmla="*/ 531 w 531"/>
                  <a:gd name="T1" fmla="*/ 0 h 23"/>
                  <a:gd name="T2" fmla="*/ 2 w 531"/>
                  <a:gd name="T3" fmla="*/ 0 h 23"/>
                  <a:gd name="T4" fmla="*/ 0 w 531"/>
                  <a:gd name="T5" fmla="*/ 23 h 23"/>
                  <a:gd name="T6" fmla="*/ 531 w 531"/>
                  <a:gd name="T7" fmla="*/ 23 h 23"/>
                  <a:gd name="T8" fmla="*/ 531 w 531"/>
                  <a:gd name="T9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1" h="23">
                    <a:moveTo>
                      <a:pt x="531" y="0"/>
                    </a:moveTo>
                    <a:lnTo>
                      <a:pt x="2" y="0"/>
                    </a:lnTo>
                    <a:cubicBezTo>
                      <a:pt x="2" y="8"/>
                      <a:pt x="1" y="16"/>
                      <a:pt x="0" y="23"/>
                    </a:cubicBezTo>
                    <a:lnTo>
                      <a:pt x="531" y="23"/>
                    </a:lnTo>
                    <a:lnTo>
                      <a:pt x="531" y="0"/>
                    </a:lnTo>
                    <a:close/>
                  </a:path>
                </a:pathLst>
              </a:cu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77" name="Freeform 41"/>
              <p:cNvSpPr>
                <a:spLocks/>
              </p:cNvSpPr>
              <p:nvPr/>
            </p:nvSpPr>
            <p:spPr bwMode="auto">
              <a:xfrm>
                <a:off x="991" y="676"/>
                <a:ext cx="105" cy="5"/>
              </a:xfrm>
              <a:custGeom>
                <a:avLst/>
                <a:gdLst>
                  <a:gd name="T0" fmla="*/ 539 w 539"/>
                  <a:gd name="T1" fmla="*/ 0 h 23"/>
                  <a:gd name="T2" fmla="*/ 5 w 539"/>
                  <a:gd name="T3" fmla="*/ 0 h 23"/>
                  <a:gd name="T4" fmla="*/ 0 w 539"/>
                  <a:gd name="T5" fmla="*/ 23 h 23"/>
                  <a:gd name="T6" fmla="*/ 539 w 539"/>
                  <a:gd name="T7" fmla="*/ 23 h 23"/>
                  <a:gd name="T8" fmla="*/ 539 w 539"/>
                  <a:gd name="T9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9" h="23">
                    <a:moveTo>
                      <a:pt x="539" y="0"/>
                    </a:moveTo>
                    <a:lnTo>
                      <a:pt x="5" y="0"/>
                    </a:lnTo>
                    <a:cubicBezTo>
                      <a:pt x="4" y="8"/>
                      <a:pt x="2" y="16"/>
                      <a:pt x="0" y="23"/>
                    </a:cubicBezTo>
                    <a:lnTo>
                      <a:pt x="539" y="23"/>
                    </a:lnTo>
                    <a:lnTo>
                      <a:pt x="539" y="0"/>
                    </a:lnTo>
                    <a:close/>
                  </a:path>
                </a:pathLst>
              </a:cu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78" name="Freeform 42"/>
              <p:cNvSpPr>
                <a:spLocks/>
              </p:cNvSpPr>
              <p:nvPr/>
            </p:nvSpPr>
            <p:spPr bwMode="auto">
              <a:xfrm>
                <a:off x="991" y="635"/>
                <a:ext cx="105" cy="5"/>
              </a:xfrm>
              <a:custGeom>
                <a:avLst/>
                <a:gdLst>
                  <a:gd name="T0" fmla="*/ 543 w 543"/>
                  <a:gd name="T1" fmla="*/ 0 h 23"/>
                  <a:gd name="T2" fmla="*/ 0 w 543"/>
                  <a:gd name="T3" fmla="*/ 0 h 23"/>
                  <a:gd name="T4" fmla="*/ 6 w 543"/>
                  <a:gd name="T5" fmla="*/ 23 h 23"/>
                  <a:gd name="T6" fmla="*/ 543 w 543"/>
                  <a:gd name="T7" fmla="*/ 23 h 23"/>
                  <a:gd name="T8" fmla="*/ 543 w 543"/>
                  <a:gd name="T9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43" h="23">
                    <a:moveTo>
                      <a:pt x="543" y="0"/>
                    </a:moveTo>
                    <a:lnTo>
                      <a:pt x="0" y="0"/>
                    </a:lnTo>
                    <a:cubicBezTo>
                      <a:pt x="2" y="7"/>
                      <a:pt x="4" y="15"/>
                      <a:pt x="6" y="23"/>
                    </a:cubicBezTo>
                    <a:lnTo>
                      <a:pt x="543" y="23"/>
                    </a:lnTo>
                    <a:lnTo>
                      <a:pt x="543" y="0"/>
                    </a:lnTo>
                    <a:close/>
                  </a:path>
                </a:pathLst>
              </a:cu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79" name="Freeform 43"/>
              <p:cNvSpPr>
                <a:spLocks/>
              </p:cNvSpPr>
              <p:nvPr/>
            </p:nvSpPr>
            <p:spPr bwMode="auto">
              <a:xfrm>
                <a:off x="992" y="644"/>
                <a:ext cx="104" cy="5"/>
              </a:xfrm>
              <a:custGeom>
                <a:avLst/>
                <a:gdLst>
                  <a:gd name="T0" fmla="*/ 533 w 533"/>
                  <a:gd name="T1" fmla="*/ 0 h 24"/>
                  <a:gd name="T2" fmla="*/ 0 w 533"/>
                  <a:gd name="T3" fmla="*/ 0 h 24"/>
                  <a:gd name="T4" fmla="*/ 1 w 533"/>
                  <a:gd name="T5" fmla="*/ 7 h 24"/>
                  <a:gd name="T6" fmla="*/ 3 w 533"/>
                  <a:gd name="T7" fmla="*/ 24 h 24"/>
                  <a:gd name="T8" fmla="*/ 533 w 533"/>
                  <a:gd name="T9" fmla="*/ 24 h 24"/>
                  <a:gd name="T10" fmla="*/ 533 w 533"/>
                  <a:gd name="T11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33" h="24">
                    <a:moveTo>
                      <a:pt x="533" y="0"/>
                    </a:moveTo>
                    <a:lnTo>
                      <a:pt x="0" y="0"/>
                    </a:lnTo>
                    <a:cubicBezTo>
                      <a:pt x="1" y="2"/>
                      <a:pt x="1" y="5"/>
                      <a:pt x="1" y="7"/>
                    </a:cubicBezTo>
                    <a:cubicBezTo>
                      <a:pt x="2" y="12"/>
                      <a:pt x="3" y="18"/>
                      <a:pt x="3" y="24"/>
                    </a:cubicBezTo>
                    <a:lnTo>
                      <a:pt x="533" y="24"/>
                    </a:lnTo>
                    <a:lnTo>
                      <a:pt x="533" y="0"/>
                    </a:lnTo>
                    <a:close/>
                  </a:path>
                </a:pathLst>
              </a:cu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80" name="Freeform 44"/>
              <p:cNvSpPr>
                <a:spLocks/>
              </p:cNvSpPr>
              <p:nvPr/>
            </p:nvSpPr>
            <p:spPr bwMode="auto">
              <a:xfrm>
                <a:off x="993" y="653"/>
                <a:ext cx="103" cy="5"/>
              </a:xfrm>
              <a:custGeom>
                <a:avLst/>
                <a:gdLst>
                  <a:gd name="T0" fmla="*/ 528 w 528"/>
                  <a:gd name="T1" fmla="*/ 0 h 23"/>
                  <a:gd name="T2" fmla="*/ 0 w 528"/>
                  <a:gd name="T3" fmla="*/ 0 h 23"/>
                  <a:gd name="T4" fmla="*/ 1 w 528"/>
                  <a:gd name="T5" fmla="*/ 23 h 23"/>
                  <a:gd name="T6" fmla="*/ 528 w 528"/>
                  <a:gd name="T7" fmla="*/ 23 h 23"/>
                  <a:gd name="T8" fmla="*/ 528 w 528"/>
                  <a:gd name="T9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8" h="23">
                    <a:moveTo>
                      <a:pt x="528" y="0"/>
                    </a:moveTo>
                    <a:lnTo>
                      <a:pt x="0" y="0"/>
                    </a:lnTo>
                    <a:cubicBezTo>
                      <a:pt x="0" y="8"/>
                      <a:pt x="0" y="16"/>
                      <a:pt x="1" y="23"/>
                    </a:cubicBezTo>
                    <a:lnTo>
                      <a:pt x="528" y="23"/>
                    </a:lnTo>
                    <a:lnTo>
                      <a:pt x="528" y="0"/>
                    </a:lnTo>
                    <a:close/>
                  </a:path>
                </a:pathLst>
              </a:cu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81" name="Freeform 45"/>
              <p:cNvSpPr>
                <a:spLocks/>
              </p:cNvSpPr>
              <p:nvPr/>
            </p:nvSpPr>
            <p:spPr bwMode="auto">
              <a:xfrm>
                <a:off x="993" y="663"/>
                <a:ext cx="103" cy="4"/>
              </a:xfrm>
              <a:custGeom>
                <a:avLst/>
                <a:gdLst>
                  <a:gd name="T0" fmla="*/ 529 w 529"/>
                  <a:gd name="T1" fmla="*/ 0 h 23"/>
                  <a:gd name="T2" fmla="*/ 1 w 529"/>
                  <a:gd name="T3" fmla="*/ 0 h 23"/>
                  <a:gd name="T4" fmla="*/ 0 w 529"/>
                  <a:gd name="T5" fmla="*/ 23 h 23"/>
                  <a:gd name="T6" fmla="*/ 529 w 529"/>
                  <a:gd name="T7" fmla="*/ 23 h 23"/>
                  <a:gd name="T8" fmla="*/ 529 w 529"/>
                  <a:gd name="T9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9" h="23">
                    <a:moveTo>
                      <a:pt x="529" y="0"/>
                    </a:moveTo>
                    <a:lnTo>
                      <a:pt x="1" y="0"/>
                    </a:lnTo>
                    <a:cubicBezTo>
                      <a:pt x="1" y="8"/>
                      <a:pt x="1" y="15"/>
                      <a:pt x="0" y="23"/>
                    </a:cubicBezTo>
                    <a:lnTo>
                      <a:pt x="529" y="23"/>
                    </a:lnTo>
                    <a:lnTo>
                      <a:pt x="529" y="0"/>
                    </a:lnTo>
                    <a:close/>
                  </a:path>
                </a:pathLst>
              </a:cu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82" name="Freeform 46"/>
              <p:cNvSpPr>
                <a:spLocks/>
              </p:cNvSpPr>
              <p:nvPr/>
            </p:nvSpPr>
            <p:spPr bwMode="auto">
              <a:xfrm>
                <a:off x="992" y="671"/>
                <a:ext cx="104" cy="5"/>
              </a:xfrm>
              <a:custGeom>
                <a:avLst/>
                <a:gdLst>
                  <a:gd name="T0" fmla="*/ 534 w 534"/>
                  <a:gd name="T1" fmla="*/ 0 h 24"/>
                  <a:gd name="T2" fmla="*/ 3 w 534"/>
                  <a:gd name="T3" fmla="*/ 0 h 24"/>
                  <a:gd name="T4" fmla="*/ 2 w 534"/>
                  <a:gd name="T5" fmla="*/ 10 h 24"/>
                  <a:gd name="T6" fmla="*/ 0 w 534"/>
                  <a:gd name="T7" fmla="*/ 24 h 24"/>
                  <a:gd name="T8" fmla="*/ 534 w 534"/>
                  <a:gd name="T9" fmla="*/ 24 h 24"/>
                  <a:gd name="T10" fmla="*/ 534 w 534"/>
                  <a:gd name="T11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34" h="24">
                    <a:moveTo>
                      <a:pt x="534" y="0"/>
                    </a:moveTo>
                    <a:lnTo>
                      <a:pt x="3" y="0"/>
                    </a:lnTo>
                    <a:cubicBezTo>
                      <a:pt x="3" y="4"/>
                      <a:pt x="3" y="7"/>
                      <a:pt x="2" y="10"/>
                    </a:cubicBezTo>
                    <a:cubicBezTo>
                      <a:pt x="2" y="14"/>
                      <a:pt x="1" y="19"/>
                      <a:pt x="0" y="24"/>
                    </a:cubicBezTo>
                    <a:lnTo>
                      <a:pt x="534" y="24"/>
                    </a:lnTo>
                    <a:lnTo>
                      <a:pt x="534" y="0"/>
                    </a:lnTo>
                    <a:close/>
                  </a:path>
                </a:pathLst>
              </a:cu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83" name="Freeform 47"/>
              <p:cNvSpPr>
                <a:spLocks/>
              </p:cNvSpPr>
              <p:nvPr/>
            </p:nvSpPr>
            <p:spPr bwMode="auto">
              <a:xfrm>
                <a:off x="990" y="681"/>
                <a:ext cx="106" cy="4"/>
              </a:xfrm>
              <a:custGeom>
                <a:avLst/>
                <a:gdLst>
                  <a:gd name="T0" fmla="*/ 546 w 546"/>
                  <a:gd name="T1" fmla="*/ 0 h 24"/>
                  <a:gd name="T2" fmla="*/ 7 w 546"/>
                  <a:gd name="T3" fmla="*/ 0 h 24"/>
                  <a:gd name="T4" fmla="*/ 0 w 546"/>
                  <a:gd name="T5" fmla="*/ 24 h 24"/>
                  <a:gd name="T6" fmla="*/ 546 w 546"/>
                  <a:gd name="T7" fmla="*/ 24 h 24"/>
                  <a:gd name="T8" fmla="*/ 546 w 546"/>
                  <a:gd name="T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46" h="24">
                    <a:moveTo>
                      <a:pt x="546" y="0"/>
                    </a:moveTo>
                    <a:lnTo>
                      <a:pt x="7" y="0"/>
                    </a:lnTo>
                    <a:cubicBezTo>
                      <a:pt x="5" y="8"/>
                      <a:pt x="3" y="16"/>
                      <a:pt x="0" y="24"/>
                    </a:cubicBezTo>
                    <a:lnTo>
                      <a:pt x="546" y="24"/>
                    </a:lnTo>
                    <a:lnTo>
                      <a:pt x="546" y="0"/>
                    </a:lnTo>
                    <a:close/>
                  </a:path>
                </a:pathLst>
              </a:cu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84" name="Freeform 48"/>
              <p:cNvSpPr>
                <a:spLocks/>
              </p:cNvSpPr>
              <p:nvPr/>
            </p:nvSpPr>
            <p:spPr bwMode="auto">
              <a:xfrm>
                <a:off x="989" y="685"/>
                <a:ext cx="107" cy="3"/>
              </a:xfrm>
              <a:custGeom>
                <a:avLst/>
                <a:gdLst>
                  <a:gd name="T0" fmla="*/ 552 w 552"/>
                  <a:gd name="T1" fmla="*/ 0 h 15"/>
                  <a:gd name="T2" fmla="*/ 6 w 552"/>
                  <a:gd name="T3" fmla="*/ 0 h 15"/>
                  <a:gd name="T4" fmla="*/ 0 w 552"/>
                  <a:gd name="T5" fmla="*/ 15 h 15"/>
                  <a:gd name="T6" fmla="*/ 552 w 552"/>
                  <a:gd name="T7" fmla="*/ 15 h 15"/>
                  <a:gd name="T8" fmla="*/ 552 w 552"/>
                  <a:gd name="T9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52" h="15">
                    <a:moveTo>
                      <a:pt x="552" y="0"/>
                    </a:moveTo>
                    <a:lnTo>
                      <a:pt x="6" y="0"/>
                    </a:lnTo>
                    <a:cubicBezTo>
                      <a:pt x="4" y="5"/>
                      <a:pt x="2" y="10"/>
                      <a:pt x="0" y="15"/>
                    </a:cubicBezTo>
                    <a:lnTo>
                      <a:pt x="552" y="15"/>
                    </a:lnTo>
                    <a:lnTo>
                      <a:pt x="552" y="0"/>
                    </a:lnTo>
                    <a:close/>
                  </a:path>
                </a:pathLst>
              </a:custGeom>
              <a:solidFill>
                <a:srgbClr val="79A7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85" name="Rectangle 49"/>
              <p:cNvSpPr>
                <a:spLocks noChangeArrowheads="1"/>
              </p:cNvSpPr>
              <p:nvPr/>
            </p:nvSpPr>
            <p:spPr bwMode="auto">
              <a:xfrm>
                <a:off x="1096" y="631"/>
                <a:ext cx="110" cy="4"/>
              </a:xfrm>
              <a:prstGeom prst="rect">
                <a:avLst/>
              </a:pr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86" name="Rectangle 50"/>
              <p:cNvSpPr>
                <a:spLocks noChangeArrowheads="1"/>
              </p:cNvSpPr>
              <p:nvPr/>
            </p:nvSpPr>
            <p:spPr bwMode="auto">
              <a:xfrm>
                <a:off x="1096" y="640"/>
                <a:ext cx="110" cy="4"/>
              </a:xfrm>
              <a:prstGeom prst="rect">
                <a:avLst/>
              </a:pr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87" name="Rectangle 51"/>
              <p:cNvSpPr>
                <a:spLocks noChangeArrowheads="1"/>
              </p:cNvSpPr>
              <p:nvPr/>
            </p:nvSpPr>
            <p:spPr bwMode="auto">
              <a:xfrm>
                <a:off x="1096" y="649"/>
                <a:ext cx="110" cy="4"/>
              </a:xfrm>
              <a:prstGeom prst="rect">
                <a:avLst/>
              </a:pr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88" name="Rectangle 52"/>
              <p:cNvSpPr>
                <a:spLocks noChangeArrowheads="1"/>
              </p:cNvSpPr>
              <p:nvPr/>
            </p:nvSpPr>
            <p:spPr bwMode="auto">
              <a:xfrm>
                <a:off x="1096" y="658"/>
                <a:ext cx="110" cy="5"/>
              </a:xfrm>
              <a:prstGeom prst="rect">
                <a:avLst/>
              </a:pr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89" name="Rectangle 53"/>
              <p:cNvSpPr>
                <a:spLocks noChangeArrowheads="1"/>
              </p:cNvSpPr>
              <p:nvPr/>
            </p:nvSpPr>
            <p:spPr bwMode="auto">
              <a:xfrm>
                <a:off x="1096" y="667"/>
                <a:ext cx="110" cy="4"/>
              </a:xfrm>
              <a:prstGeom prst="rect">
                <a:avLst/>
              </a:pr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90" name="Rectangle 54"/>
              <p:cNvSpPr>
                <a:spLocks noChangeArrowheads="1"/>
              </p:cNvSpPr>
              <p:nvPr/>
            </p:nvSpPr>
            <p:spPr bwMode="auto">
              <a:xfrm>
                <a:off x="1096" y="676"/>
                <a:ext cx="110" cy="5"/>
              </a:xfrm>
              <a:prstGeom prst="rect">
                <a:avLst/>
              </a:pr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91" name="Rectangle 55"/>
              <p:cNvSpPr>
                <a:spLocks noChangeArrowheads="1"/>
              </p:cNvSpPr>
              <p:nvPr/>
            </p:nvSpPr>
            <p:spPr bwMode="auto">
              <a:xfrm>
                <a:off x="1096" y="635"/>
                <a:ext cx="110" cy="5"/>
              </a:xfrm>
              <a:prstGeom prst="rect">
                <a:avLst/>
              </a:pr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92" name="Rectangle 56"/>
              <p:cNvSpPr>
                <a:spLocks noChangeArrowheads="1"/>
              </p:cNvSpPr>
              <p:nvPr/>
            </p:nvSpPr>
            <p:spPr bwMode="auto">
              <a:xfrm>
                <a:off x="1096" y="644"/>
                <a:ext cx="110" cy="5"/>
              </a:xfrm>
              <a:prstGeom prst="rect">
                <a:avLst/>
              </a:pr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93" name="Rectangle 57"/>
              <p:cNvSpPr>
                <a:spLocks noChangeArrowheads="1"/>
              </p:cNvSpPr>
              <p:nvPr/>
            </p:nvSpPr>
            <p:spPr bwMode="auto">
              <a:xfrm>
                <a:off x="1096" y="653"/>
                <a:ext cx="110" cy="5"/>
              </a:xfrm>
              <a:prstGeom prst="rect">
                <a:avLst/>
              </a:pr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94" name="Rectangle 58"/>
              <p:cNvSpPr>
                <a:spLocks noChangeArrowheads="1"/>
              </p:cNvSpPr>
              <p:nvPr/>
            </p:nvSpPr>
            <p:spPr bwMode="auto">
              <a:xfrm>
                <a:off x="1096" y="663"/>
                <a:ext cx="110" cy="4"/>
              </a:xfrm>
              <a:prstGeom prst="rect">
                <a:avLst/>
              </a:pr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95" name="Rectangle 59"/>
              <p:cNvSpPr>
                <a:spLocks noChangeArrowheads="1"/>
              </p:cNvSpPr>
              <p:nvPr/>
            </p:nvSpPr>
            <p:spPr bwMode="auto">
              <a:xfrm>
                <a:off x="1096" y="671"/>
                <a:ext cx="110" cy="5"/>
              </a:xfrm>
              <a:prstGeom prst="rect">
                <a:avLst/>
              </a:pr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96" name="Rectangle 60"/>
              <p:cNvSpPr>
                <a:spLocks noChangeArrowheads="1"/>
              </p:cNvSpPr>
              <p:nvPr/>
            </p:nvSpPr>
            <p:spPr bwMode="auto">
              <a:xfrm>
                <a:off x="1096" y="681"/>
                <a:ext cx="110" cy="4"/>
              </a:xfrm>
              <a:prstGeom prst="rect">
                <a:avLst/>
              </a:pr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97" name="Rectangle 61"/>
              <p:cNvSpPr>
                <a:spLocks noChangeArrowheads="1"/>
              </p:cNvSpPr>
              <p:nvPr/>
            </p:nvSpPr>
            <p:spPr bwMode="auto">
              <a:xfrm>
                <a:off x="1096" y="685"/>
                <a:ext cx="110" cy="3"/>
              </a:xfrm>
              <a:prstGeom prst="rect">
                <a:avLst/>
              </a:prstGeom>
              <a:solidFill>
                <a:srgbClr val="6F9AA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98" name="Rectangle 62"/>
              <p:cNvSpPr>
                <a:spLocks noChangeArrowheads="1"/>
              </p:cNvSpPr>
              <p:nvPr/>
            </p:nvSpPr>
            <p:spPr bwMode="auto">
              <a:xfrm>
                <a:off x="923" y="705"/>
                <a:ext cx="139" cy="3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99" name="Rectangle 63"/>
              <p:cNvSpPr>
                <a:spLocks noChangeArrowheads="1"/>
              </p:cNvSpPr>
              <p:nvPr/>
            </p:nvSpPr>
            <p:spPr bwMode="auto">
              <a:xfrm>
                <a:off x="923" y="711"/>
                <a:ext cx="139" cy="3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00" name="Rectangle 64"/>
              <p:cNvSpPr>
                <a:spLocks noChangeArrowheads="1"/>
              </p:cNvSpPr>
              <p:nvPr/>
            </p:nvSpPr>
            <p:spPr bwMode="auto">
              <a:xfrm>
                <a:off x="923" y="717"/>
                <a:ext cx="139" cy="4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01" name="Rectangle 65"/>
              <p:cNvSpPr>
                <a:spLocks noChangeArrowheads="1"/>
              </p:cNvSpPr>
              <p:nvPr/>
            </p:nvSpPr>
            <p:spPr bwMode="auto">
              <a:xfrm>
                <a:off x="923" y="724"/>
                <a:ext cx="139" cy="3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02" name="Rectangle 66"/>
              <p:cNvSpPr>
                <a:spLocks noChangeArrowheads="1"/>
              </p:cNvSpPr>
              <p:nvPr/>
            </p:nvSpPr>
            <p:spPr bwMode="auto">
              <a:xfrm>
                <a:off x="923" y="730"/>
                <a:ext cx="139" cy="3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03" name="Rectangle 67"/>
              <p:cNvSpPr>
                <a:spLocks noChangeArrowheads="1"/>
              </p:cNvSpPr>
              <p:nvPr/>
            </p:nvSpPr>
            <p:spPr bwMode="auto">
              <a:xfrm>
                <a:off x="923" y="736"/>
                <a:ext cx="139" cy="3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04" name="Rectangle 68"/>
              <p:cNvSpPr>
                <a:spLocks noChangeArrowheads="1"/>
              </p:cNvSpPr>
              <p:nvPr/>
            </p:nvSpPr>
            <p:spPr bwMode="auto">
              <a:xfrm>
                <a:off x="923" y="708"/>
                <a:ext cx="139" cy="3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05" name="Rectangle 69"/>
              <p:cNvSpPr>
                <a:spLocks noChangeArrowheads="1"/>
              </p:cNvSpPr>
              <p:nvPr/>
            </p:nvSpPr>
            <p:spPr bwMode="auto">
              <a:xfrm>
                <a:off x="923" y="714"/>
                <a:ext cx="139" cy="3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06" name="Rectangle 70"/>
              <p:cNvSpPr>
                <a:spLocks noChangeArrowheads="1"/>
              </p:cNvSpPr>
              <p:nvPr/>
            </p:nvSpPr>
            <p:spPr bwMode="auto">
              <a:xfrm>
                <a:off x="923" y="721"/>
                <a:ext cx="139" cy="3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07" name="Rectangle 71"/>
              <p:cNvSpPr>
                <a:spLocks noChangeArrowheads="1"/>
              </p:cNvSpPr>
              <p:nvPr/>
            </p:nvSpPr>
            <p:spPr bwMode="auto">
              <a:xfrm>
                <a:off x="923" y="727"/>
                <a:ext cx="139" cy="3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08" name="Rectangle 72"/>
              <p:cNvSpPr>
                <a:spLocks noChangeArrowheads="1"/>
              </p:cNvSpPr>
              <p:nvPr/>
            </p:nvSpPr>
            <p:spPr bwMode="auto">
              <a:xfrm>
                <a:off x="923" y="733"/>
                <a:ext cx="139" cy="3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09" name="Rectangle 73"/>
              <p:cNvSpPr>
                <a:spLocks noChangeArrowheads="1"/>
              </p:cNvSpPr>
              <p:nvPr/>
            </p:nvSpPr>
            <p:spPr bwMode="auto">
              <a:xfrm>
                <a:off x="923" y="739"/>
                <a:ext cx="139" cy="3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10" name="Rectangle 74"/>
              <p:cNvSpPr>
                <a:spLocks noChangeArrowheads="1"/>
              </p:cNvSpPr>
              <p:nvPr/>
            </p:nvSpPr>
            <p:spPr bwMode="auto">
              <a:xfrm>
                <a:off x="923" y="742"/>
                <a:ext cx="139" cy="2"/>
              </a:xfrm>
              <a:prstGeom prst="rect">
                <a:avLst/>
              </a:prstGeom>
              <a:solidFill>
                <a:srgbClr val="79A7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11" name="Freeform 75"/>
              <p:cNvSpPr>
                <a:spLocks/>
              </p:cNvSpPr>
              <p:nvPr/>
            </p:nvSpPr>
            <p:spPr bwMode="auto">
              <a:xfrm>
                <a:off x="1062" y="705"/>
                <a:ext cx="139" cy="3"/>
              </a:xfrm>
              <a:custGeom>
                <a:avLst/>
                <a:gdLst>
                  <a:gd name="T0" fmla="*/ 0 w 715"/>
                  <a:gd name="T1" fmla="*/ 0 h 16"/>
                  <a:gd name="T2" fmla="*/ 715 w 715"/>
                  <a:gd name="T3" fmla="*/ 0 h 16"/>
                  <a:gd name="T4" fmla="*/ 710 w 715"/>
                  <a:gd name="T5" fmla="*/ 16 h 16"/>
                  <a:gd name="T6" fmla="*/ 0 w 715"/>
                  <a:gd name="T7" fmla="*/ 16 h 16"/>
                  <a:gd name="T8" fmla="*/ 0 w 715"/>
                  <a:gd name="T9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15" h="16">
                    <a:moveTo>
                      <a:pt x="0" y="0"/>
                    </a:moveTo>
                    <a:lnTo>
                      <a:pt x="715" y="0"/>
                    </a:lnTo>
                    <a:cubicBezTo>
                      <a:pt x="713" y="5"/>
                      <a:pt x="712" y="11"/>
                      <a:pt x="710" y="16"/>
                    </a:cubicBezTo>
                    <a:lnTo>
                      <a:pt x="0" y="1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12" name="Freeform 76"/>
              <p:cNvSpPr>
                <a:spLocks/>
              </p:cNvSpPr>
              <p:nvPr/>
            </p:nvSpPr>
            <p:spPr bwMode="auto">
              <a:xfrm>
                <a:off x="1062" y="711"/>
                <a:ext cx="138" cy="3"/>
              </a:xfrm>
              <a:custGeom>
                <a:avLst/>
                <a:gdLst>
                  <a:gd name="T0" fmla="*/ 0 w 707"/>
                  <a:gd name="T1" fmla="*/ 0 h 16"/>
                  <a:gd name="T2" fmla="*/ 707 w 707"/>
                  <a:gd name="T3" fmla="*/ 0 h 16"/>
                  <a:gd name="T4" fmla="*/ 704 w 707"/>
                  <a:gd name="T5" fmla="*/ 15 h 16"/>
                  <a:gd name="T6" fmla="*/ 704 w 707"/>
                  <a:gd name="T7" fmla="*/ 16 h 16"/>
                  <a:gd name="T8" fmla="*/ 0 w 707"/>
                  <a:gd name="T9" fmla="*/ 16 h 16"/>
                  <a:gd name="T10" fmla="*/ 0 w 707"/>
                  <a:gd name="T11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07" h="16">
                    <a:moveTo>
                      <a:pt x="0" y="0"/>
                    </a:moveTo>
                    <a:lnTo>
                      <a:pt x="707" y="0"/>
                    </a:lnTo>
                    <a:cubicBezTo>
                      <a:pt x="706" y="5"/>
                      <a:pt x="705" y="10"/>
                      <a:pt x="704" y="15"/>
                    </a:cubicBezTo>
                    <a:lnTo>
                      <a:pt x="704" y="16"/>
                    </a:lnTo>
                    <a:lnTo>
                      <a:pt x="0" y="1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13" name="Freeform 77"/>
              <p:cNvSpPr>
                <a:spLocks/>
              </p:cNvSpPr>
              <p:nvPr/>
            </p:nvSpPr>
            <p:spPr bwMode="auto">
              <a:xfrm>
                <a:off x="1062" y="717"/>
                <a:ext cx="137" cy="4"/>
              </a:xfrm>
              <a:custGeom>
                <a:avLst/>
                <a:gdLst>
                  <a:gd name="T0" fmla="*/ 0 w 702"/>
                  <a:gd name="T1" fmla="*/ 0 h 16"/>
                  <a:gd name="T2" fmla="*/ 702 w 702"/>
                  <a:gd name="T3" fmla="*/ 0 h 16"/>
                  <a:gd name="T4" fmla="*/ 701 w 702"/>
                  <a:gd name="T5" fmla="*/ 16 h 16"/>
                  <a:gd name="T6" fmla="*/ 0 w 702"/>
                  <a:gd name="T7" fmla="*/ 16 h 16"/>
                  <a:gd name="T8" fmla="*/ 0 w 702"/>
                  <a:gd name="T9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02" h="16">
                    <a:moveTo>
                      <a:pt x="0" y="0"/>
                    </a:moveTo>
                    <a:lnTo>
                      <a:pt x="702" y="0"/>
                    </a:lnTo>
                    <a:cubicBezTo>
                      <a:pt x="702" y="5"/>
                      <a:pt x="702" y="10"/>
                      <a:pt x="701" y="16"/>
                    </a:cubicBezTo>
                    <a:lnTo>
                      <a:pt x="0" y="1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14" name="Freeform 78"/>
              <p:cNvSpPr>
                <a:spLocks/>
              </p:cNvSpPr>
              <p:nvPr/>
            </p:nvSpPr>
            <p:spPr bwMode="auto">
              <a:xfrm>
                <a:off x="1062" y="724"/>
                <a:ext cx="137" cy="3"/>
              </a:xfrm>
              <a:custGeom>
                <a:avLst/>
                <a:gdLst>
                  <a:gd name="T0" fmla="*/ 0 w 701"/>
                  <a:gd name="T1" fmla="*/ 0 h 16"/>
                  <a:gd name="T2" fmla="*/ 701 w 701"/>
                  <a:gd name="T3" fmla="*/ 0 h 16"/>
                  <a:gd name="T4" fmla="*/ 701 w 701"/>
                  <a:gd name="T5" fmla="*/ 5 h 16"/>
                  <a:gd name="T6" fmla="*/ 701 w 701"/>
                  <a:gd name="T7" fmla="*/ 16 h 16"/>
                  <a:gd name="T8" fmla="*/ 0 w 701"/>
                  <a:gd name="T9" fmla="*/ 16 h 16"/>
                  <a:gd name="T10" fmla="*/ 0 w 701"/>
                  <a:gd name="T11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01" h="16">
                    <a:moveTo>
                      <a:pt x="0" y="0"/>
                    </a:moveTo>
                    <a:lnTo>
                      <a:pt x="701" y="0"/>
                    </a:lnTo>
                    <a:lnTo>
                      <a:pt x="701" y="5"/>
                    </a:lnTo>
                    <a:cubicBezTo>
                      <a:pt x="701" y="9"/>
                      <a:pt x="701" y="12"/>
                      <a:pt x="701" y="16"/>
                    </a:cubicBezTo>
                    <a:lnTo>
                      <a:pt x="0" y="1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15" name="Freeform 79"/>
              <p:cNvSpPr>
                <a:spLocks/>
              </p:cNvSpPr>
              <p:nvPr/>
            </p:nvSpPr>
            <p:spPr bwMode="auto">
              <a:xfrm>
                <a:off x="1062" y="730"/>
                <a:ext cx="137" cy="3"/>
              </a:xfrm>
              <a:custGeom>
                <a:avLst/>
                <a:gdLst>
                  <a:gd name="T0" fmla="*/ 0 w 703"/>
                  <a:gd name="T1" fmla="*/ 0 h 16"/>
                  <a:gd name="T2" fmla="*/ 702 w 703"/>
                  <a:gd name="T3" fmla="*/ 0 h 16"/>
                  <a:gd name="T4" fmla="*/ 703 w 703"/>
                  <a:gd name="T5" fmla="*/ 16 h 16"/>
                  <a:gd name="T6" fmla="*/ 0 w 703"/>
                  <a:gd name="T7" fmla="*/ 16 h 16"/>
                  <a:gd name="T8" fmla="*/ 0 w 703"/>
                  <a:gd name="T9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03" h="16">
                    <a:moveTo>
                      <a:pt x="0" y="0"/>
                    </a:moveTo>
                    <a:lnTo>
                      <a:pt x="702" y="0"/>
                    </a:lnTo>
                    <a:cubicBezTo>
                      <a:pt x="702" y="6"/>
                      <a:pt x="702" y="11"/>
                      <a:pt x="703" y="16"/>
                    </a:cubicBezTo>
                    <a:lnTo>
                      <a:pt x="0" y="1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16" name="Freeform 80"/>
              <p:cNvSpPr>
                <a:spLocks/>
              </p:cNvSpPr>
              <p:nvPr/>
            </p:nvSpPr>
            <p:spPr bwMode="auto">
              <a:xfrm>
                <a:off x="1062" y="736"/>
                <a:ext cx="138" cy="3"/>
              </a:xfrm>
              <a:custGeom>
                <a:avLst/>
                <a:gdLst>
                  <a:gd name="T0" fmla="*/ 0 w 708"/>
                  <a:gd name="T1" fmla="*/ 0 h 16"/>
                  <a:gd name="T2" fmla="*/ 705 w 708"/>
                  <a:gd name="T3" fmla="*/ 0 h 16"/>
                  <a:gd name="T4" fmla="*/ 708 w 708"/>
                  <a:gd name="T5" fmla="*/ 16 h 16"/>
                  <a:gd name="T6" fmla="*/ 0 w 708"/>
                  <a:gd name="T7" fmla="*/ 16 h 16"/>
                  <a:gd name="T8" fmla="*/ 0 w 708"/>
                  <a:gd name="T9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08" h="16">
                    <a:moveTo>
                      <a:pt x="0" y="0"/>
                    </a:moveTo>
                    <a:lnTo>
                      <a:pt x="705" y="0"/>
                    </a:lnTo>
                    <a:cubicBezTo>
                      <a:pt x="706" y="6"/>
                      <a:pt x="707" y="11"/>
                      <a:pt x="708" y="16"/>
                    </a:cubicBezTo>
                    <a:lnTo>
                      <a:pt x="0" y="1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17" name="Freeform 81"/>
              <p:cNvSpPr>
                <a:spLocks/>
              </p:cNvSpPr>
              <p:nvPr/>
            </p:nvSpPr>
            <p:spPr bwMode="auto">
              <a:xfrm>
                <a:off x="1062" y="708"/>
                <a:ext cx="138" cy="3"/>
              </a:xfrm>
              <a:custGeom>
                <a:avLst/>
                <a:gdLst>
                  <a:gd name="T0" fmla="*/ 0 w 710"/>
                  <a:gd name="T1" fmla="*/ 0 h 16"/>
                  <a:gd name="T2" fmla="*/ 710 w 710"/>
                  <a:gd name="T3" fmla="*/ 0 h 16"/>
                  <a:gd name="T4" fmla="*/ 707 w 710"/>
                  <a:gd name="T5" fmla="*/ 16 h 16"/>
                  <a:gd name="T6" fmla="*/ 0 w 710"/>
                  <a:gd name="T7" fmla="*/ 16 h 16"/>
                  <a:gd name="T8" fmla="*/ 0 w 710"/>
                  <a:gd name="T9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10" h="16">
                    <a:moveTo>
                      <a:pt x="0" y="0"/>
                    </a:moveTo>
                    <a:lnTo>
                      <a:pt x="710" y="0"/>
                    </a:lnTo>
                    <a:cubicBezTo>
                      <a:pt x="709" y="5"/>
                      <a:pt x="708" y="11"/>
                      <a:pt x="707" y="16"/>
                    </a:cubicBezTo>
                    <a:lnTo>
                      <a:pt x="0" y="1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18" name="Freeform 82"/>
              <p:cNvSpPr>
                <a:spLocks/>
              </p:cNvSpPr>
              <p:nvPr/>
            </p:nvSpPr>
            <p:spPr bwMode="auto">
              <a:xfrm>
                <a:off x="1062" y="714"/>
                <a:ext cx="137" cy="3"/>
              </a:xfrm>
              <a:custGeom>
                <a:avLst/>
                <a:gdLst>
                  <a:gd name="T0" fmla="*/ 0 w 704"/>
                  <a:gd name="T1" fmla="*/ 0 h 16"/>
                  <a:gd name="T2" fmla="*/ 704 w 704"/>
                  <a:gd name="T3" fmla="*/ 0 h 16"/>
                  <a:gd name="T4" fmla="*/ 702 w 704"/>
                  <a:gd name="T5" fmla="*/ 16 h 16"/>
                  <a:gd name="T6" fmla="*/ 0 w 704"/>
                  <a:gd name="T7" fmla="*/ 16 h 16"/>
                  <a:gd name="T8" fmla="*/ 0 w 704"/>
                  <a:gd name="T9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04" h="16">
                    <a:moveTo>
                      <a:pt x="0" y="0"/>
                    </a:moveTo>
                    <a:lnTo>
                      <a:pt x="704" y="0"/>
                    </a:lnTo>
                    <a:cubicBezTo>
                      <a:pt x="703" y="5"/>
                      <a:pt x="703" y="10"/>
                      <a:pt x="702" y="16"/>
                    </a:cubicBezTo>
                    <a:lnTo>
                      <a:pt x="0" y="1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19" name="Freeform 83"/>
              <p:cNvSpPr>
                <a:spLocks/>
              </p:cNvSpPr>
              <p:nvPr/>
            </p:nvSpPr>
            <p:spPr bwMode="auto">
              <a:xfrm>
                <a:off x="1062" y="721"/>
                <a:ext cx="137" cy="3"/>
              </a:xfrm>
              <a:custGeom>
                <a:avLst/>
                <a:gdLst>
                  <a:gd name="T0" fmla="*/ 0 w 701"/>
                  <a:gd name="T1" fmla="*/ 0 h 16"/>
                  <a:gd name="T2" fmla="*/ 701 w 701"/>
                  <a:gd name="T3" fmla="*/ 0 h 16"/>
                  <a:gd name="T4" fmla="*/ 701 w 701"/>
                  <a:gd name="T5" fmla="*/ 16 h 16"/>
                  <a:gd name="T6" fmla="*/ 0 w 701"/>
                  <a:gd name="T7" fmla="*/ 16 h 16"/>
                  <a:gd name="T8" fmla="*/ 0 w 701"/>
                  <a:gd name="T9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01" h="16">
                    <a:moveTo>
                      <a:pt x="0" y="0"/>
                    </a:moveTo>
                    <a:lnTo>
                      <a:pt x="701" y="0"/>
                    </a:lnTo>
                    <a:cubicBezTo>
                      <a:pt x="701" y="5"/>
                      <a:pt x="701" y="10"/>
                      <a:pt x="701" y="16"/>
                    </a:cubicBezTo>
                    <a:lnTo>
                      <a:pt x="0" y="1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20" name="Freeform 84"/>
              <p:cNvSpPr>
                <a:spLocks/>
              </p:cNvSpPr>
              <p:nvPr/>
            </p:nvSpPr>
            <p:spPr bwMode="auto">
              <a:xfrm>
                <a:off x="1062" y="727"/>
                <a:ext cx="137" cy="3"/>
              </a:xfrm>
              <a:custGeom>
                <a:avLst/>
                <a:gdLst>
                  <a:gd name="T0" fmla="*/ 0 w 702"/>
                  <a:gd name="T1" fmla="*/ 0 h 15"/>
                  <a:gd name="T2" fmla="*/ 701 w 702"/>
                  <a:gd name="T3" fmla="*/ 0 h 15"/>
                  <a:gd name="T4" fmla="*/ 702 w 702"/>
                  <a:gd name="T5" fmla="*/ 15 h 15"/>
                  <a:gd name="T6" fmla="*/ 0 w 702"/>
                  <a:gd name="T7" fmla="*/ 15 h 15"/>
                  <a:gd name="T8" fmla="*/ 0 w 702"/>
                  <a:gd name="T9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02" h="15">
                    <a:moveTo>
                      <a:pt x="0" y="0"/>
                    </a:moveTo>
                    <a:lnTo>
                      <a:pt x="701" y="0"/>
                    </a:lnTo>
                    <a:cubicBezTo>
                      <a:pt x="701" y="5"/>
                      <a:pt x="701" y="10"/>
                      <a:pt x="702" y="15"/>
                    </a:cubicBezTo>
                    <a:lnTo>
                      <a:pt x="0" y="1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21" name="Freeform 85"/>
              <p:cNvSpPr>
                <a:spLocks/>
              </p:cNvSpPr>
              <p:nvPr/>
            </p:nvSpPr>
            <p:spPr bwMode="auto">
              <a:xfrm>
                <a:off x="1062" y="733"/>
                <a:ext cx="137" cy="3"/>
              </a:xfrm>
              <a:custGeom>
                <a:avLst/>
                <a:gdLst>
                  <a:gd name="T0" fmla="*/ 0 w 705"/>
                  <a:gd name="T1" fmla="*/ 0 h 16"/>
                  <a:gd name="T2" fmla="*/ 703 w 705"/>
                  <a:gd name="T3" fmla="*/ 0 h 16"/>
                  <a:gd name="T4" fmla="*/ 704 w 705"/>
                  <a:gd name="T5" fmla="*/ 12 h 16"/>
                  <a:gd name="T6" fmla="*/ 705 w 705"/>
                  <a:gd name="T7" fmla="*/ 16 h 16"/>
                  <a:gd name="T8" fmla="*/ 0 w 705"/>
                  <a:gd name="T9" fmla="*/ 16 h 16"/>
                  <a:gd name="T10" fmla="*/ 0 w 705"/>
                  <a:gd name="T11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05" h="16">
                    <a:moveTo>
                      <a:pt x="0" y="0"/>
                    </a:moveTo>
                    <a:lnTo>
                      <a:pt x="703" y="0"/>
                    </a:lnTo>
                    <a:cubicBezTo>
                      <a:pt x="703" y="4"/>
                      <a:pt x="704" y="8"/>
                      <a:pt x="704" y="12"/>
                    </a:cubicBezTo>
                    <a:lnTo>
                      <a:pt x="705" y="16"/>
                    </a:lnTo>
                    <a:lnTo>
                      <a:pt x="0" y="1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22" name="Freeform 86"/>
              <p:cNvSpPr>
                <a:spLocks/>
              </p:cNvSpPr>
              <p:nvPr/>
            </p:nvSpPr>
            <p:spPr bwMode="auto">
              <a:xfrm>
                <a:off x="1062" y="739"/>
                <a:ext cx="139" cy="3"/>
              </a:xfrm>
              <a:custGeom>
                <a:avLst/>
                <a:gdLst>
                  <a:gd name="T0" fmla="*/ 0 w 712"/>
                  <a:gd name="T1" fmla="*/ 0 h 16"/>
                  <a:gd name="T2" fmla="*/ 708 w 712"/>
                  <a:gd name="T3" fmla="*/ 0 h 16"/>
                  <a:gd name="T4" fmla="*/ 712 w 712"/>
                  <a:gd name="T5" fmla="*/ 16 h 16"/>
                  <a:gd name="T6" fmla="*/ 0 w 712"/>
                  <a:gd name="T7" fmla="*/ 16 h 16"/>
                  <a:gd name="T8" fmla="*/ 0 w 712"/>
                  <a:gd name="T9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12" h="16">
                    <a:moveTo>
                      <a:pt x="0" y="0"/>
                    </a:moveTo>
                    <a:lnTo>
                      <a:pt x="708" y="0"/>
                    </a:lnTo>
                    <a:cubicBezTo>
                      <a:pt x="709" y="6"/>
                      <a:pt x="710" y="11"/>
                      <a:pt x="712" y="16"/>
                    </a:cubicBezTo>
                    <a:lnTo>
                      <a:pt x="0" y="1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23" name="Freeform 87"/>
              <p:cNvSpPr>
                <a:spLocks/>
              </p:cNvSpPr>
              <p:nvPr/>
            </p:nvSpPr>
            <p:spPr bwMode="auto">
              <a:xfrm>
                <a:off x="1062" y="742"/>
                <a:ext cx="139" cy="2"/>
              </a:xfrm>
              <a:custGeom>
                <a:avLst/>
                <a:gdLst>
                  <a:gd name="T0" fmla="*/ 0 w 715"/>
                  <a:gd name="T1" fmla="*/ 0 h 11"/>
                  <a:gd name="T2" fmla="*/ 712 w 715"/>
                  <a:gd name="T3" fmla="*/ 0 h 11"/>
                  <a:gd name="T4" fmla="*/ 715 w 715"/>
                  <a:gd name="T5" fmla="*/ 11 h 11"/>
                  <a:gd name="T6" fmla="*/ 0 w 715"/>
                  <a:gd name="T7" fmla="*/ 11 h 11"/>
                  <a:gd name="T8" fmla="*/ 0 w 715"/>
                  <a:gd name="T9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15" h="11">
                    <a:moveTo>
                      <a:pt x="0" y="0"/>
                    </a:moveTo>
                    <a:lnTo>
                      <a:pt x="712" y="0"/>
                    </a:lnTo>
                    <a:cubicBezTo>
                      <a:pt x="713" y="4"/>
                      <a:pt x="714" y="7"/>
                      <a:pt x="715" y="11"/>
                    </a:cubicBezTo>
                    <a:lnTo>
                      <a:pt x="0" y="1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F9AA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24" name="Freeform 88"/>
              <p:cNvSpPr>
                <a:spLocks/>
              </p:cNvSpPr>
              <p:nvPr/>
            </p:nvSpPr>
            <p:spPr bwMode="auto">
              <a:xfrm>
                <a:off x="920" y="696"/>
                <a:ext cx="285" cy="57"/>
              </a:xfrm>
              <a:custGeom>
                <a:avLst/>
                <a:gdLst>
                  <a:gd name="T0" fmla="*/ 1469 w 1469"/>
                  <a:gd name="T1" fmla="*/ 296 h 296"/>
                  <a:gd name="T2" fmla="*/ 62 w 1469"/>
                  <a:gd name="T3" fmla="*/ 296 h 296"/>
                  <a:gd name="T4" fmla="*/ 3 w 1469"/>
                  <a:gd name="T5" fmla="*/ 202 h 296"/>
                  <a:gd name="T6" fmla="*/ 0 w 1469"/>
                  <a:gd name="T7" fmla="*/ 148 h 296"/>
                  <a:gd name="T8" fmla="*/ 3 w 1469"/>
                  <a:gd name="T9" fmla="*/ 94 h 296"/>
                  <a:gd name="T10" fmla="*/ 62 w 1469"/>
                  <a:gd name="T11" fmla="*/ 0 h 296"/>
                  <a:gd name="T12" fmla="*/ 1469 w 1469"/>
                  <a:gd name="T13" fmla="*/ 0 h 296"/>
                  <a:gd name="T14" fmla="*/ 1469 w 1469"/>
                  <a:gd name="T15" fmla="*/ 47 h 296"/>
                  <a:gd name="T16" fmla="*/ 62 w 1469"/>
                  <a:gd name="T17" fmla="*/ 47 h 296"/>
                  <a:gd name="T18" fmla="*/ 49 w 1469"/>
                  <a:gd name="T19" fmla="*/ 100 h 296"/>
                  <a:gd name="T20" fmla="*/ 46 w 1469"/>
                  <a:gd name="T21" fmla="*/ 148 h 296"/>
                  <a:gd name="T22" fmla="*/ 49 w 1469"/>
                  <a:gd name="T23" fmla="*/ 196 h 296"/>
                  <a:gd name="T24" fmla="*/ 62 w 1469"/>
                  <a:gd name="T25" fmla="*/ 249 h 296"/>
                  <a:gd name="T26" fmla="*/ 1469 w 1469"/>
                  <a:gd name="T27" fmla="*/ 249 h 296"/>
                  <a:gd name="T28" fmla="*/ 1469 w 1469"/>
                  <a:gd name="T29" fmla="*/ 296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469" h="296">
                    <a:moveTo>
                      <a:pt x="1469" y="296"/>
                    </a:moveTo>
                    <a:lnTo>
                      <a:pt x="62" y="296"/>
                    </a:lnTo>
                    <a:cubicBezTo>
                      <a:pt x="29" y="296"/>
                      <a:pt x="10" y="254"/>
                      <a:pt x="3" y="202"/>
                    </a:cubicBezTo>
                    <a:cubicBezTo>
                      <a:pt x="1" y="184"/>
                      <a:pt x="0" y="166"/>
                      <a:pt x="0" y="148"/>
                    </a:cubicBezTo>
                    <a:cubicBezTo>
                      <a:pt x="0" y="130"/>
                      <a:pt x="1" y="112"/>
                      <a:pt x="3" y="94"/>
                    </a:cubicBezTo>
                    <a:cubicBezTo>
                      <a:pt x="10" y="42"/>
                      <a:pt x="29" y="0"/>
                      <a:pt x="62" y="0"/>
                    </a:cubicBezTo>
                    <a:lnTo>
                      <a:pt x="1469" y="0"/>
                    </a:lnTo>
                    <a:lnTo>
                      <a:pt x="1469" y="47"/>
                    </a:lnTo>
                    <a:lnTo>
                      <a:pt x="62" y="47"/>
                    </a:lnTo>
                    <a:cubicBezTo>
                      <a:pt x="58" y="47"/>
                      <a:pt x="53" y="70"/>
                      <a:pt x="49" y="100"/>
                    </a:cubicBezTo>
                    <a:cubicBezTo>
                      <a:pt x="47" y="115"/>
                      <a:pt x="46" y="131"/>
                      <a:pt x="46" y="148"/>
                    </a:cubicBezTo>
                    <a:cubicBezTo>
                      <a:pt x="46" y="165"/>
                      <a:pt x="47" y="181"/>
                      <a:pt x="49" y="196"/>
                    </a:cubicBezTo>
                    <a:cubicBezTo>
                      <a:pt x="53" y="226"/>
                      <a:pt x="58" y="249"/>
                      <a:pt x="62" y="249"/>
                    </a:cubicBezTo>
                    <a:lnTo>
                      <a:pt x="1469" y="249"/>
                    </a:lnTo>
                    <a:lnTo>
                      <a:pt x="1469" y="296"/>
                    </a:lnTo>
                    <a:close/>
                  </a:path>
                </a:pathLst>
              </a:custGeom>
              <a:solidFill>
                <a:srgbClr val="27D3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25" name="Freeform 89"/>
              <p:cNvSpPr>
                <a:spLocks noEditPoints="1"/>
              </p:cNvSpPr>
              <p:nvPr/>
            </p:nvSpPr>
            <p:spPr bwMode="auto">
              <a:xfrm>
                <a:off x="1062" y="696"/>
                <a:ext cx="143" cy="57"/>
              </a:xfrm>
              <a:custGeom>
                <a:avLst/>
                <a:gdLst>
                  <a:gd name="T0" fmla="*/ 735 w 735"/>
                  <a:gd name="T1" fmla="*/ 296 h 296"/>
                  <a:gd name="T2" fmla="*/ 0 w 735"/>
                  <a:gd name="T3" fmla="*/ 296 h 296"/>
                  <a:gd name="T4" fmla="*/ 0 w 735"/>
                  <a:gd name="T5" fmla="*/ 249 h 296"/>
                  <a:gd name="T6" fmla="*/ 735 w 735"/>
                  <a:gd name="T7" fmla="*/ 249 h 296"/>
                  <a:gd name="T8" fmla="*/ 735 w 735"/>
                  <a:gd name="T9" fmla="*/ 296 h 296"/>
                  <a:gd name="T10" fmla="*/ 0 w 735"/>
                  <a:gd name="T11" fmla="*/ 0 h 296"/>
                  <a:gd name="T12" fmla="*/ 735 w 735"/>
                  <a:gd name="T13" fmla="*/ 0 h 296"/>
                  <a:gd name="T14" fmla="*/ 735 w 735"/>
                  <a:gd name="T15" fmla="*/ 47 h 296"/>
                  <a:gd name="T16" fmla="*/ 0 w 735"/>
                  <a:gd name="T17" fmla="*/ 47 h 296"/>
                  <a:gd name="T18" fmla="*/ 0 w 735"/>
                  <a:gd name="T19" fmla="*/ 0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35" h="296">
                    <a:moveTo>
                      <a:pt x="735" y="296"/>
                    </a:moveTo>
                    <a:lnTo>
                      <a:pt x="0" y="296"/>
                    </a:lnTo>
                    <a:lnTo>
                      <a:pt x="0" y="249"/>
                    </a:lnTo>
                    <a:lnTo>
                      <a:pt x="735" y="249"/>
                    </a:lnTo>
                    <a:lnTo>
                      <a:pt x="735" y="296"/>
                    </a:lnTo>
                    <a:close/>
                    <a:moveTo>
                      <a:pt x="0" y="0"/>
                    </a:moveTo>
                    <a:lnTo>
                      <a:pt x="735" y="0"/>
                    </a:lnTo>
                    <a:lnTo>
                      <a:pt x="735" y="47"/>
                    </a:lnTo>
                    <a:lnTo>
                      <a:pt x="0" y="4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ADB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26" name="Rectangle 90"/>
              <p:cNvSpPr>
                <a:spLocks noChangeArrowheads="1"/>
              </p:cNvSpPr>
              <p:nvPr/>
            </p:nvSpPr>
            <p:spPr bwMode="auto">
              <a:xfrm>
                <a:off x="909" y="858"/>
                <a:ext cx="184" cy="4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27" name="Rectangle 91"/>
              <p:cNvSpPr>
                <a:spLocks noChangeArrowheads="1"/>
              </p:cNvSpPr>
              <p:nvPr/>
            </p:nvSpPr>
            <p:spPr bwMode="auto">
              <a:xfrm>
                <a:off x="909" y="866"/>
                <a:ext cx="184" cy="4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28" name="Rectangle 92"/>
              <p:cNvSpPr>
                <a:spLocks noChangeArrowheads="1"/>
              </p:cNvSpPr>
              <p:nvPr/>
            </p:nvSpPr>
            <p:spPr bwMode="auto">
              <a:xfrm>
                <a:off x="909" y="874"/>
                <a:ext cx="184" cy="4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29" name="Rectangle 93"/>
              <p:cNvSpPr>
                <a:spLocks noChangeArrowheads="1"/>
              </p:cNvSpPr>
              <p:nvPr/>
            </p:nvSpPr>
            <p:spPr bwMode="auto">
              <a:xfrm>
                <a:off x="909" y="882"/>
                <a:ext cx="184" cy="4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30" name="Rectangle 94"/>
              <p:cNvSpPr>
                <a:spLocks noChangeArrowheads="1"/>
              </p:cNvSpPr>
              <p:nvPr/>
            </p:nvSpPr>
            <p:spPr bwMode="auto">
              <a:xfrm>
                <a:off x="909" y="890"/>
                <a:ext cx="184" cy="4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31" name="Rectangle 95"/>
              <p:cNvSpPr>
                <a:spLocks noChangeArrowheads="1"/>
              </p:cNvSpPr>
              <p:nvPr/>
            </p:nvSpPr>
            <p:spPr bwMode="auto">
              <a:xfrm>
                <a:off x="909" y="899"/>
                <a:ext cx="184" cy="4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32" name="Rectangle 96"/>
              <p:cNvSpPr>
                <a:spLocks noChangeArrowheads="1"/>
              </p:cNvSpPr>
              <p:nvPr/>
            </p:nvSpPr>
            <p:spPr bwMode="auto">
              <a:xfrm>
                <a:off x="909" y="862"/>
                <a:ext cx="184" cy="4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33" name="Rectangle 97"/>
              <p:cNvSpPr>
                <a:spLocks noChangeArrowheads="1"/>
              </p:cNvSpPr>
              <p:nvPr/>
            </p:nvSpPr>
            <p:spPr bwMode="auto">
              <a:xfrm>
                <a:off x="909" y="870"/>
                <a:ext cx="184" cy="4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34" name="Rectangle 98"/>
              <p:cNvSpPr>
                <a:spLocks noChangeArrowheads="1"/>
              </p:cNvSpPr>
              <p:nvPr/>
            </p:nvSpPr>
            <p:spPr bwMode="auto">
              <a:xfrm>
                <a:off x="909" y="878"/>
                <a:ext cx="184" cy="4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35" name="Rectangle 99"/>
              <p:cNvSpPr>
                <a:spLocks noChangeArrowheads="1"/>
              </p:cNvSpPr>
              <p:nvPr/>
            </p:nvSpPr>
            <p:spPr bwMode="auto">
              <a:xfrm>
                <a:off x="909" y="886"/>
                <a:ext cx="184" cy="4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36" name="Rectangle 100"/>
              <p:cNvSpPr>
                <a:spLocks noChangeArrowheads="1"/>
              </p:cNvSpPr>
              <p:nvPr/>
            </p:nvSpPr>
            <p:spPr bwMode="auto">
              <a:xfrm>
                <a:off x="909" y="894"/>
                <a:ext cx="184" cy="5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37" name="Rectangle 101"/>
              <p:cNvSpPr>
                <a:spLocks noChangeArrowheads="1"/>
              </p:cNvSpPr>
              <p:nvPr/>
            </p:nvSpPr>
            <p:spPr bwMode="auto">
              <a:xfrm>
                <a:off x="909" y="903"/>
                <a:ext cx="184" cy="4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38" name="Rectangle 102"/>
              <p:cNvSpPr>
                <a:spLocks noChangeArrowheads="1"/>
              </p:cNvSpPr>
              <p:nvPr/>
            </p:nvSpPr>
            <p:spPr bwMode="auto">
              <a:xfrm>
                <a:off x="909" y="907"/>
                <a:ext cx="184" cy="2"/>
              </a:xfrm>
              <a:prstGeom prst="rect">
                <a:avLst/>
              </a:prstGeom>
              <a:solidFill>
                <a:srgbClr val="79A7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39" name="Freeform 103"/>
              <p:cNvSpPr>
                <a:spLocks/>
              </p:cNvSpPr>
              <p:nvPr/>
            </p:nvSpPr>
            <p:spPr bwMode="auto">
              <a:xfrm>
                <a:off x="1093" y="858"/>
                <a:ext cx="184" cy="4"/>
              </a:xfrm>
              <a:custGeom>
                <a:avLst/>
                <a:gdLst>
                  <a:gd name="T0" fmla="*/ 0 w 946"/>
                  <a:gd name="T1" fmla="*/ 0 h 21"/>
                  <a:gd name="T2" fmla="*/ 946 w 946"/>
                  <a:gd name="T3" fmla="*/ 0 h 21"/>
                  <a:gd name="T4" fmla="*/ 939 w 946"/>
                  <a:gd name="T5" fmla="*/ 21 h 21"/>
                  <a:gd name="T6" fmla="*/ 0 w 946"/>
                  <a:gd name="T7" fmla="*/ 21 h 21"/>
                  <a:gd name="T8" fmla="*/ 0 w 946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46" h="21">
                    <a:moveTo>
                      <a:pt x="0" y="0"/>
                    </a:moveTo>
                    <a:lnTo>
                      <a:pt x="946" y="0"/>
                    </a:lnTo>
                    <a:cubicBezTo>
                      <a:pt x="943" y="6"/>
                      <a:pt x="941" y="13"/>
                      <a:pt x="939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40" name="Freeform 104"/>
              <p:cNvSpPr>
                <a:spLocks/>
              </p:cNvSpPr>
              <p:nvPr/>
            </p:nvSpPr>
            <p:spPr bwMode="auto">
              <a:xfrm>
                <a:off x="1093" y="866"/>
                <a:ext cx="182" cy="4"/>
              </a:xfrm>
              <a:custGeom>
                <a:avLst/>
                <a:gdLst>
                  <a:gd name="T0" fmla="*/ 0 w 935"/>
                  <a:gd name="T1" fmla="*/ 0 h 21"/>
                  <a:gd name="T2" fmla="*/ 935 w 935"/>
                  <a:gd name="T3" fmla="*/ 0 h 21"/>
                  <a:gd name="T4" fmla="*/ 932 w 935"/>
                  <a:gd name="T5" fmla="*/ 20 h 21"/>
                  <a:gd name="T6" fmla="*/ 931 w 935"/>
                  <a:gd name="T7" fmla="*/ 21 h 21"/>
                  <a:gd name="T8" fmla="*/ 0 w 935"/>
                  <a:gd name="T9" fmla="*/ 21 h 21"/>
                  <a:gd name="T10" fmla="*/ 0 w 935"/>
                  <a:gd name="T11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35" h="21">
                    <a:moveTo>
                      <a:pt x="0" y="0"/>
                    </a:moveTo>
                    <a:lnTo>
                      <a:pt x="935" y="0"/>
                    </a:lnTo>
                    <a:cubicBezTo>
                      <a:pt x="933" y="6"/>
                      <a:pt x="932" y="13"/>
                      <a:pt x="932" y="20"/>
                    </a:cubicBezTo>
                    <a:lnTo>
                      <a:pt x="931" y="21"/>
                    </a:ln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41" name="Freeform 105"/>
              <p:cNvSpPr>
                <a:spLocks/>
              </p:cNvSpPr>
              <p:nvPr/>
            </p:nvSpPr>
            <p:spPr bwMode="auto">
              <a:xfrm>
                <a:off x="1093" y="874"/>
                <a:ext cx="180" cy="4"/>
              </a:xfrm>
              <a:custGeom>
                <a:avLst/>
                <a:gdLst>
                  <a:gd name="T0" fmla="*/ 0 w 929"/>
                  <a:gd name="T1" fmla="*/ 0 h 21"/>
                  <a:gd name="T2" fmla="*/ 929 w 929"/>
                  <a:gd name="T3" fmla="*/ 0 h 21"/>
                  <a:gd name="T4" fmla="*/ 928 w 929"/>
                  <a:gd name="T5" fmla="*/ 21 h 21"/>
                  <a:gd name="T6" fmla="*/ 0 w 929"/>
                  <a:gd name="T7" fmla="*/ 21 h 21"/>
                  <a:gd name="T8" fmla="*/ 0 w 929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29" h="21">
                    <a:moveTo>
                      <a:pt x="0" y="0"/>
                    </a:moveTo>
                    <a:lnTo>
                      <a:pt x="929" y="0"/>
                    </a:lnTo>
                    <a:cubicBezTo>
                      <a:pt x="929" y="7"/>
                      <a:pt x="928" y="14"/>
                      <a:pt x="928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42" name="Freeform 106"/>
              <p:cNvSpPr>
                <a:spLocks/>
              </p:cNvSpPr>
              <p:nvPr/>
            </p:nvSpPr>
            <p:spPr bwMode="auto">
              <a:xfrm>
                <a:off x="1093" y="882"/>
                <a:ext cx="180" cy="4"/>
              </a:xfrm>
              <a:custGeom>
                <a:avLst/>
                <a:gdLst>
                  <a:gd name="T0" fmla="*/ 0 w 927"/>
                  <a:gd name="T1" fmla="*/ 0 h 21"/>
                  <a:gd name="T2" fmla="*/ 927 w 927"/>
                  <a:gd name="T3" fmla="*/ 0 h 21"/>
                  <a:gd name="T4" fmla="*/ 927 w 927"/>
                  <a:gd name="T5" fmla="*/ 7 h 21"/>
                  <a:gd name="T6" fmla="*/ 927 w 927"/>
                  <a:gd name="T7" fmla="*/ 21 h 21"/>
                  <a:gd name="T8" fmla="*/ 0 w 927"/>
                  <a:gd name="T9" fmla="*/ 21 h 21"/>
                  <a:gd name="T10" fmla="*/ 0 w 927"/>
                  <a:gd name="T11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27" h="21">
                    <a:moveTo>
                      <a:pt x="0" y="0"/>
                    </a:moveTo>
                    <a:lnTo>
                      <a:pt x="927" y="0"/>
                    </a:lnTo>
                    <a:lnTo>
                      <a:pt x="927" y="7"/>
                    </a:lnTo>
                    <a:cubicBezTo>
                      <a:pt x="927" y="12"/>
                      <a:pt x="927" y="16"/>
                      <a:pt x="927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43" name="Freeform 107"/>
              <p:cNvSpPr>
                <a:spLocks/>
              </p:cNvSpPr>
              <p:nvPr/>
            </p:nvSpPr>
            <p:spPr bwMode="auto">
              <a:xfrm>
                <a:off x="1093" y="890"/>
                <a:ext cx="181" cy="4"/>
              </a:xfrm>
              <a:custGeom>
                <a:avLst/>
                <a:gdLst>
                  <a:gd name="T0" fmla="*/ 0 w 930"/>
                  <a:gd name="T1" fmla="*/ 0 h 21"/>
                  <a:gd name="T2" fmla="*/ 928 w 930"/>
                  <a:gd name="T3" fmla="*/ 0 h 21"/>
                  <a:gd name="T4" fmla="*/ 930 w 930"/>
                  <a:gd name="T5" fmla="*/ 21 h 21"/>
                  <a:gd name="T6" fmla="*/ 0 w 930"/>
                  <a:gd name="T7" fmla="*/ 21 h 21"/>
                  <a:gd name="T8" fmla="*/ 0 w 930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30" h="21">
                    <a:moveTo>
                      <a:pt x="0" y="0"/>
                    </a:moveTo>
                    <a:lnTo>
                      <a:pt x="928" y="0"/>
                    </a:lnTo>
                    <a:cubicBezTo>
                      <a:pt x="929" y="7"/>
                      <a:pt x="929" y="14"/>
                      <a:pt x="930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44" name="Freeform 108"/>
              <p:cNvSpPr>
                <a:spLocks/>
              </p:cNvSpPr>
              <p:nvPr/>
            </p:nvSpPr>
            <p:spPr bwMode="auto">
              <a:xfrm>
                <a:off x="1093" y="899"/>
                <a:ext cx="182" cy="4"/>
              </a:xfrm>
              <a:custGeom>
                <a:avLst/>
                <a:gdLst>
                  <a:gd name="T0" fmla="*/ 0 w 936"/>
                  <a:gd name="T1" fmla="*/ 0 h 21"/>
                  <a:gd name="T2" fmla="*/ 932 w 936"/>
                  <a:gd name="T3" fmla="*/ 0 h 21"/>
                  <a:gd name="T4" fmla="*/ 936 w 936"/>
                  <a:gd name="T5" fmla="*/ 21 h 21"/>
                  <a:gd name="T6" fmla="*/ 0 w 936"/>
                  <a:gd name="T7" fmla="*/ 21 h 21"/>
                  <a:gd name="T8" fmla="*/ 0 w 936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36" h="21">
                    <a:moveTo>
                      <a:pt x="0" y="0"/>
                    </a:moveTo>
                    <a:lnTo>
                      <a:pt x="932" y="0"/>
                    </a:lnTo>
                    <a:cubicBezTo>
                      <a:pt x="933" y="7"/>
                      <a:pt x="935" y="14"/>
                      <a:pt x="936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45" name="Freeform 109"/>
              <p:cNvSpPr>
                <a:spLocks/>
              </p:cNvSpPr>
              <p:nvPr/>
            </p:nvSpPr>
            <p:spPr bwMode="auto">
              <a:xfrm>
                <a:off x="1093" y="862"/>
                <a:ext cx="182" cy="4"/>
              </a:xfrm>
              <a:custGeom>
                <a:avLst/>
                <a:gdLst>
                  <a:gd name="T0" fmla="*/ 0 w 939"/>
                  <a:gd name="T1" fmla="*/ 0 h 21"/>
                  <a:gd name="T2" fmla="*/ 939 w 939"/>
                  <a:gd name="T3" fmla="*/ 0 h 21"/>
                  <a:gd name="T4" fmla="*/ 935 w 939"/>
                  <a:gd name="T5" fmla="*/ 21 h 21"/>
                  <a:gd name="T6" fmla="*/ 0 w 939"/>
                  <a:gd name="T7" fmla="*/ 21 h 21"/>
                  <a:gd name="T8" fmla="*/ 0 w 939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39" h="21">
                    <a:moveTo>
                      <a:pt x="0" y="0"/>
                    </a:moveTo>
                    <a:lnTo>
                      <a:pt x="939" y="0"/>
                    </a:lnTo>
                    <a:cubicBezTo>
                      <a:pt x="938" y="6"/>
                      <a:pt x="936" y="13"/>
                      <a:pt x="935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46" name="Freeform 110"/>
              <p:cNvSpPr>
                <a:spLocks/>
              </p:cNvSpPr>
              <p:nvPr/>
            </p:nvSpPr>
            <p:spPr bwMode="auto">
              <a:xfrm>
                <a:off x="1093" y="870"/>
                <a:ext cx="181" cy="4"/>
              </a:xfrm>
              <a:custGeom>
                <a:avLst/>
                <a:gdLst>
                  <a:gd name="T0" fmla="*/ 0 w 931"/>
                  <a:gd name="T1" fmla="*/ 0 h 21"/>
                  <a:gd name="T2" fmla="*/ 931 w 931"/>
                  <a:gd name="T3" fmla="*/ 0 h 21"/>
                  <a:gd name="T4" fmla="*/ 929 w 931"/>
                  <a:gd name="T5" fmla="*/ 21 h 21"/>
                  <a:gd name="T6" fmla="*/ 0 w 931"/>
                  <a:gd name="T7" fmla="*/ 21 h 21"/>
                  <a:gd name="T8" fmla="*/ 0 w 931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31" h="21">
                    <a:moveTo>
                      <a:pt x="0" y="0"/>
                    </a:moveTo>
                    <a:lnTo>
                      <a:pt x="931" y="0"/>
                    </a:lnTo>
                    <a:cubicBezTo>
                      <a:pt x="931" y="7"/>
                      <a:pt x="930" y="14"/>
                      <a:pt x="929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47" name="Freeform 111"/>
              <p:cNvSpPr>
                <a:spLocks/>
              </p:cNvSpPr>
              <p:nvPr/>
            </p:nvSpPr>
            <p:spPr bwMode="auto">
              <a:xfrm>
                <a:off x="1093" y="878"/>
                <a:ext cx="180" cy="4"/>
              </a:xfrm>
              <a:custGeom>
                <a:avLst/>
                <a:gdLst>
                  <a:gd name="T0" fmla="*/ 0 w 928"/>
                  <a:gd name="T1" fmla="*/ 0 h 21"/>
                  <a:gd name="T2" fmla="*/ 928 w 928"/>
                  <a:gd name="T3" fmla="*/ 0 h 21"/>
                  <a:gd name="T4" fmla="*/ 927 w 928"/>
                  <a:gd name="T5" fmla="*/ 21 h 21"/>
                  <a:gd name="T6" fmla="*/ 0 w 928"/>
                  <a:gd name="T7" fmla="*/ 21 h 21"/>
                  <a:gd name="T8" fmla="*/ 0 w 928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28" h="21">
                    <a:moveTo>
                      <a:pt x="0" y="0"/>
                    </a:moveTo>
                    <a:lnTo>
                      <a:pt x="928" y="0"/>
                    </a:lnTo>
                    <a:cubicBezTo>
                      <a:pt x="927" y="7"/>
                      <a:pt x="927" y="14"/>
                      <a:pt x="927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48" name="Freeform 112"/>
              <p:cNvSpPr>
                <a:spLocks/>
              </p:cNvSpPr>
              <p:nvPr/>
            </p:nvSpPr>
            <p:spPr bwMode="auto">
              <a:xfrm>
                <a:off x="1093" y="886"/>
                <a:ext cx="180" cy="4"/>
              </a:xfrm>
              <a:custGeom>
                <a:avLst/>
                <a:gdLst>
                  <a:gd name="T0" fmla="*/ 0 w 928"/>
                  <a:gd name="T1" fmla="*/ 0 h 21"/>
                  <a:gd name="T2" fmla="*/ 927 w 928"/>
                  <a:gd name="T3" fmla="*/ 0 h 21"/>
                  <a:gd name="T4" fmla="*/ 928 w 928"/>
                  <a:gd name="T5" fmla="*/ 21 h 21"/>
                  <a:gd name="T6" fmla="*/ 0 w 928"/>
                  <a:gd name="T7" fmla="*/ 21 h 21"/>
                  <a:gd name="T8" fmla="*/ 0 w 928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28" h="21">
                    <a:moveTo>
                      <a:pt x="0" y="0"/>
                    </a:moveTo>
                    <a:lnTo>
                      <a:pt x="927" y="0"/>
                    </a:lnTo>
                    <a:cubicBezTo>
                      <a:pt x="927" y="7"/>
                      <a:pt x="928" y="14"/>
                      <a:pt x="928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49" name="Freeform 113"/>
              <p:cNvSpPr>
                <a:spLocks/>
              </p:cNvSpPr>
              <p:nvPr/>
            </p:nvSpPr>
            <p:spPr bwMode="auto">
              <a:xfrm>
                <a:off x="1093" y="894"/>
                <a:ext cx="181" cy="5"/>
              </a:xfrm>
              <a:custGeom>
                <a:avLst/>
                <a:gdLst>
                  <a:gd name="T0" fmla="*/ 0 w 932"/>
                  <a:gd name="T1" fmla="*/ 0 h 21"/>
                  <a:gd name="T2" fmla="*/ 930 w 932"/>
                  <a:gd name="T3" fmla="*/ 0 h 21"/>
                  <a:gd name="T4" fmla="*/ 932 w 932"/>
                  <a:gd name="T5" fmla="*/ 15 h 21"/>
                  <a:gd name="T6" fmla="*/ 932 w 932"/>
                  <a:gd name="T7" fmla="*/ 21 h 21"/>
                  <a:gd name="T8" fmla="*/ 0 w 932"/>
                  <a:gd name="T9" fmla="*/ 21 h 21"/>
                  <a:gd name="T10" fmla="*/ 0 w 932"/>
                  <a:gd name="T11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32" h="21">
                    <a:moveTo>
                      <a:pt x="0" y="0"/>
                    </a:moveTo>
                    <a:lnTo>
                      <a:pt x="930" y="0"/>
                    </a:lnTo>
                    <a:cubicBezTo>
                      <a:pt x="930" y="5"/>
                      <a:pt x="931" y="10"/>
                      <a:pt x="932" y="15"/>
                    </a:cubicBezTo>
                    <a:lnTo>
                      <a:pt x="932" y="21"/>
                    </a:ln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50" name="Freeform 114"/>
              <p:cNvSpPr>
                <a:spLocks/>
              </p:cNvSpPr>
              <p:nvPr/>
            </p:nvSpPr>
            <p:spPr bwMode="auto">
              <a:xfrm>
                <a:off x="1093" y="903"/>
                <a:ext cx="183" cy="4"/>
              </a:xfrm>
              <a:custGeom>
                <a:avLst/>
                <a:gdLst>
                  <a:gd name="T0" fmla="*/ 0 w 941"/>
                  <a:gd name="T1" fmla="*/ 0 h 21"/>
                  <a:gd name="T2" fmla="*/ 936 w 941"/>
                  <a:gd name="T3" fmla="*/ 0 h 21"/>
                  <a:gd name="T4" fmla="*/ 941 w 941"/>
                  <a:gd name="T5" fmla="*/ 21 h 21"/>
                  <a:gd name="T6" fmla="*/ 0 w 941"/>
                  <a:gd name="T7" fmla="*/ 21 h 21"/>
                  <a:gd name="T8" fmla="*/ 0 w 941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41" h="21">
                    <a:moveTo>
                      <a:pt x="0" y="0"/>
                    </a:moveTo>
                    <a:lnTo>
                      <a:pt x="936" y="0"/>
                    </a:lnTo>
                    <a:cubicBezTo>
                      <a:pt x="938" y="7"/>
                      <a:pt x="939" y="14"/>
                      <a:pt x="941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51" name="Freeform 115"/>
              <p:cNvSpPr>
                <a:spLocks/>
              </p:cNvSpPr>
              <p:nvPr/>
            </p:nvSpPr>
            <p:spPr bwMode="auto">
              <a:xfrm>
                <a:off x="1093" y="907"/>
                <a:ext cx="184" cy="2"/>
              </a:xfrm>
              <a:custGeom>
                <a:avLst/>
                <a:gdLst>
                  <a:gd name="T0" fmla="*/ 0 w 946"/>
                  <a:gd name="T1" fmla="*/ 0 h 14"/>
                  <a:gd name="T2" fmla="*/ 941 w 946"/>
                  <a:gd name="T3" fmla="*/ 0 h 14"/>
                  <a:gd name="T4" fmla="*/ 946 w 946"/>
                  <a:gd name="T5" fmla="*/ 14 h 14"/>
                  <a:gd name="T6" fmla="*/ 0 w 946"/>
                  <a:gd name="T7" fmla="*/ 14 h 14"/>
                  <a:gd name="T8" fmla="*/ 0 w 946"/>
                  <a:gd name="T9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46" h="14">
                    <a:moveTo>
                      <a:pt x="0" y="0"/>
                    </a:moveTo>
                    <a:lnTo>
                      <a:pt x="941" y="0"/>
                    </a:lnTo>
                    <a:cubicBezTo>
                      <a:pt x="943" y="5"/>
                      <a:pt x="944" y="10"/>
                      <a:pt x="946" y="14"/>
                    </a:cubicBezTo>
                    <a:lnTo>
                      <a:pt x="0" y="1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F9AA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52" name="Freeform 116"/>
              <p:cNvSpPr>
                <a:spLocks/>
              </p:cNvSpPr>
              <p:nvPr/>
            </p:nvSpPr>
            <p:spPr bwMode="auto">
              <a:xfrm>
                <a:off x="905" y="846"/>
                <a:ext cx="377" cy="75"/>
              </a:xfrm>
              <a:custGeom>
                <a:avLst/>
                <a:gdLst>
                  <a:gd name="T0" fmla="*/ 1943 w 1943"/>
                  <a:gd name="T1" fmla="*/ 390 h 390"/>
                  <a:gd name="T2" fmla="*/ 83 w 1943"/>
                  <a:gd name="T3" fmla="*/ 390 h 390"/>
                  <a:gd name="T4" fmla="*/ 4 w 1943"/>
                  <a:gd name="T5" fmla="*/ 266 h 390"/>
                  <a:gd name="T6" fmla="*/ 0 w 1943"/>
                  <a:gd name="T7" fmla="*/ 195 h 390"/>
                  <a:gd name="T8" fmla="*/ 4 w 1943"/>
                  <a:gd name="T9" fmla="*/ 124 h 390"/>
                  <a:gd name="T10" fmla="*/ 83 w 1943"/>
                  <a:gd name="T11" fmla="*/ 0 h 390"/>
                  <a:gd name="T12" fmla="*/ 1943 w 1943"/>
                  <a:gd name="T13" fmla="*/ 0 h 390"/>
                  <a:gd name="T14" fmla="*/ 1943 w 1943"/>
                  <a:gd name="T15" fmla="*/ 62 h 390"/>
                  <a:gd name="T16" fmla="*/ 83 w 1943"/>
                  <a:gd name="T17" fmla="*/ 62 h 390"/>
                  <a:gd name="T18" fmla="*/ 65 w 1943"/>
                  <a:gd name="T19" fmla="*/ 132 h 390"/>
                  <a:gd name="T20" fmla="*/ 61 w 1943"/>
                  <a:gd name="T21" fmla="*/ 195 h 390"/>
                  <a:gd name="T22" fmla="*/ 65 w 1943"/>
                  <a:gd name="T23" fmla="*/ 258 h 390"/>
                  <a:gd name="T24" fmla="*/ 83 w 1943"/>
                  <a:gd name="T25" fmla="*/ 328 h 390"/>
                  <a:gd name="T26" fmla="*/ 1943 w 1943"/>
                  <a:gd name="T27" fmla="*/ 328 h 390"/>
                  <a:gd name="T28" fmla="*/ 1943 w 1943"/>
                  <a:gd name="T29" fmla="*/ 390 h 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943" h="390">
                    <a:moveTo>
                      <a:pt x="1943" y="390"/>
                    </a:moveTo>
                    <a:lnTo>
                      <a:pt x="83" y="390"/>
                    </a:lnTo>
                    <a:cubicBezTo>
                      <a:pt x="39" y="390"/>
                      <a:pt x="13" y="336"/>
                      <a:pt x="4" y="266"/>
                    </a:cubicBezTo>
                    <a:cubicBezTo>
                      <a:pt x="1" y="243"/>
                      <a:pt x="0" y="219"/>
                      <a:pt x="0" y="195"/>
                    </a:cubicBezTo>
                    <a:cubicBezTo>
                      <a:pt x="0" y="171"/>
                      <a:pt x="1" y="147"/>
                      <a:pt x="4" y="124"/>
                    </a:cubicBezTo>
                    <a:cubicBezTo>
                      <a:pt x="13" y="54"/>
                      <a:pt x="39" y="0"/>
                      <a:pt x="83" y="0"/>
                    </a:cubicBezTo>
                    <a:lnTo>
                      <a:pt x="1943" y="0"/>
                    </a:lnTo>
                    <a:lnTo>
                      <a:pt x="1943" y="62"/>
                    </a:lnTo>
                    <a:lnTo>
                      <a:pt x="83" y="62"/>
                    </a:lnTo>
                    <a:cubicBezTo>
                      <a:pt x="77" y="62"/>
                      <a:pt x="70" y="92"/>
                      <a:pt x="65" y="132"/>
                    </a:cubicBezTo>
                    <a:cubicBezTo>
                      <a:pt x="63" y="151"/>
                      <a:pt x="61" y="173"/>
                      <a:pt x="61" y="195"/>
                    </a:cubicBezTo>
                    <a:cubicBezTo>
                      <a:pt x="61" y="217"/>
                      <a:pt x="63" y="239"/>
                      <a:pt x="65" y="258"/>
                    </a:cubicBezTo>
                    <a:cubicBezTo>
                      <a:pt x="70" y="298"/>
                      <a:pt x="77" y="328"/>
                      <a:pt x="83" y="328"/>
                    </a:cubicBezTo>
                    <a:lnTo>
                      <a:pt x="1943" y="328"/>
                    </a:lnTo>
                    <a:lnTo>
                      <a:pt x="1943" y="390"/>
                    </a:lnTo>
                    <a:close/>
                  </a:path>
                </a:pathLst>
              </a:custGeom>
              <a:solidFill>
                <a:srgbClr val="43505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53" name="Freeform 117"/>
              <p:cNvSpPr>
                <a:spLocks noEditPoints="1"/>
              </p:cNvSpPr>
              <p:nvPr/>
            </p:nvSpPr>
            <p:spPr bwMode="auto">
              <a:xfrm>
                <a:off x="1093" y="846"/>
                <a:ext cx="189" cy="75"/>
              </a:xfrm>
              <a:custGeom>
                <a:avLst/>
                <a:gdLst>
                  <a:gd name="T0" fmla="*/ 972 w 972"/>
                  <a:gd name="T1" fmla="*/ 390 h 390"/>
                  <a:gd name="T2" fmla="*/ 0 w 972"/>
                  <a:gd name="T3" fmla="*/ 390 h 390"/>
                  <a:gd name="T4" fmla="*/ 0 w 972"/>
                  <a:gd name="T5" fmla="*/ 328 h 390"/>
                  <a:gd name="T6" fmla="*/ 972 w 972"/>
                  <a:gd name="T7" fmla="*/ 328 h 390"/>
                  <a:gd name="T8" fmla="*/ 972 w 972"/>
                  <a:gd name="T9" fmla="*/ 390 h 390"/>
                  <a:gd name="T10" fmla="*/ 0 w 972"/>
                  <a:gd name="T11" fmla="*/ 0 h 390"/>
                  <a:gd name="T12" fmla="*/ 972 w 972"/>
                  <a:gd name="T13" fmla="*/ 0 h 390"/>
                  <a:gd name="T14" fmla="*/ 972 w 972"/>
                  <a:gd name="T15" fmla="*/ 62 h 390"/>
                  <a:gd name="T16" fmla="*/ 0 w 972"/>
                  <a:gd name="T17" fmla="*/ 62 h 390"/>
                  <a:gd name="T18" fmla="*/ 0 w 972"/>
                  <a:gd name="T19" fmla="*/ 0 h 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72" h="390">
                    <a:moveTo>
                      <a:pt x="972" y="390"/>
                    </a:moveTo>
                    <a:lnTo>
                      <a:pt x="0" y="390"/>
                    </a:lnTo>
                    <a:lnTo>
                      <a:pt x="0" y="328"/>
                    </a:lnTo>
                    <a:lnTo>
                      <a:pt x="972" y="328"/>
                    </a:lnTo>
                    <a:lnTo>
                      <a:pt x="972" y="390"/>
                    </a:lnTo>
                    <a:close/>
                    <a:moveTo>
                      <a:pt x="0" y="0"/>
                    </a:moveTo>
                    <a:lnTo>
                      <a:pt x="972" y="0"/>
                    </a:lnTo>
                    <a:lnTo>
                      <a:pt x="972" y="62"/>
                    </a:lnTo>
                    <a:lnTo>
                      <a:pt x="0" y="6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3039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54" name="Rectangle 118"/>
              <p:cNvSpPr>
                <a:spLocks noChangeArrowheads="1"/>
              </p:cNvSpPr>
              <p:nvPr/>
            </p:nvSpPr>
            <p:spPr bwMode="auto">
              <a:xfrm>
                <a:off x="905" y="763"/>
                <a:ext cx="137" cy="6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55" name="Rectangle 119"/>
              <p:cNvSpPr>
                <a:spLocks noChangeArrowheads="1"/>
              </p:cNvSpPr>
              <p:nvPr/>
            </p:nvSpPr>
            <p:spPr bwMode="auto">
              <a:xfrm>
                <a:off x="905" y="775"/>
                <a:ext cx="137" cy="5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56" name="Rectangle 120"/>
              <p:cNvSpPr>
                <a:spLocks noChangeArrowheads="1"/>
              </p:cNvSpPr>
              <p:nvPr/>
            </p:nvSpPr>
            <p:spPr bwMode="auto">
              <a:xfrm>
                <a:off x="905" y="786"/>
                <a:ext cx="137" cy="6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57" name="Rectangle 121"/>
              <p:cNvSpPr>
                <a:spLocks noChangeArrowheads="1"/>
              </p:cNvSpPr>
              <p:nvPr/>
            </p:nvSpPr>
            <p:spPr bwMode="auto">
              <a:xfrm>
                <a:off x="905" y="798"/>
                <a:ext cx="137" cy="5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58" name="Rectangle 122"/>
              <p:cNvSpPr>
                <a:spLocks noChangeArrowheads="1"/>
              </p:cNvSpPr>
              <p:nvPr/>
            </p:nvSpPr>
            <p:spPr bwMode="auto">
              <a:xfrm>
                <a:off x="905" y="809"/>
                <a:ext cx="137" cy="6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59" name="Rectangle 123"/>
              <p:cNvSpPr>
                <a:spLocks noChangeArrowheads="1"/>
              </p:cNvSpPr>
              <p:nvPr/>
            </p:nvSpPr>
            <p:spPr bwMode="auto">
              <a:xfrm>
                <a:off x="905" y="821"/>
                <a:ext cx="137" cy="5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60" name="Rectangle 124"/>
              <p:cNvSpPr>
                <a:spLocks noChangeArrowheads="1"/>
              </p:cNvSpPr>
              <p:nvPr/>
            </p:nvSpPr>
            <p:spPr bwMode="auto">
              <a:xfrm>
                <a:off x="905" y="769"/>
                <a:ext cx="137" cy="6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61" name="Rectangle 125"/>
              <p:cNvSpPr>
                <a:spLocks noChangeArrowheads="1"/>
              </p:cNvSpPr>
              <p:nvPr/>
            </p:nvSpPr>
            <p:spPr bwMode="auto">
              <a:xfrm>
                <a:off x="905" y="780"/>
                <a:ext cx="137" cy="6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62" name="Rectangle 126"/>
              <p:cNvSpPr>
                <a:spLocks noChangeArrowheads="1"/>
              </p:cNvSpPr>
              <p:nvPr/>
            </p:nvSpPr>
            <p:spPr bwMode="auto">
              <a:xfrm>
                <a:off x="905" y="792"/>
                <a:ext cx="137" cy="6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63" name="Rectangle 127"/>
              <p:cNvSpPr>
                <a:spLocks noChangeArrowheads="1"/>
              </p:cNvSpPr>
              <p:nvPr/>
            </p:nvSpPr>
            <p:spPr bwMode="auto">
              <a:xfrm>
                <a:off x="905" y="803"/>
                <a:ext cx="137" cy="6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64" name="Rectangle 128"/>
              <p:cNvSpPr>
                <a:spLocks noChangeArrowheads="1"/>
              </p:cNvSpPr>
              <p:nvPr/>
            </p:nvSpPr>
            <p:spPr bwMode="auto">
              <a:xfrm>
                <a:off x="905" y="815"/>
                <a:ext cx="137" cy="6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65" name="Rectangle 129"/>
              <p:cNvSpPr>
                <a:spLocks noChangeArrowheads="1"/>
              </p:cNvSpPr>
              <p:nvPr/>
            </p:nvSpPr>
            <p:spPr bwMode="auto">
              <a:xfrm>
                <a:off x="905" y="826"/>
                <a:ext cx="137" cy="6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66" name="Rectangle 130"/>
              <p:cNvSpPr>
                <a:spLocks noChangeArrowheads="1"/>
              </p:cNvSpPr>
              <p:nvPr/>
            </p:nvSpPr>
            <p:spPr bwMode="auto">
              <a:xfrm>
                <a:off x="905" y="832"/>
                <a:ext cx="137" cy="4"/>
              </a:xfrm>
              <a:prstGeom prst="rect">
                <a:avLst/>
              </a:prstGeom>
              <a:solidFill>
                <a:srgbClr val="79A7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67" name="Freeform 131"/>
              <p:cNvSpPr>
                <a:spLocks/>
              </p:cNvSpPr>
              <p:nvPr/>
            </p:nvSpPr>
            <p:spPr bwMode="auto">
              <a:xfrm>
                <a:off x="1042" y="763"/>
                <a:ext cx="137" cy="6"/>
              </a:xfrm>
              <a:custGeom>
                <a:avLst/>
                <a:gdLst>
                  <a:gd name="T0" fmla="*/ 0 w 703"/>
                  <a:gd name="T1" fmla="*/ 0 h 30"/>
                  <a:gd name="T2" fmla="*/ 703 w 703"/>
                  <a:gd name="T3" fmla="*/ 0 h 30"/>
                  <a:gd name="T4" fmla="*/ 691 w 703"/>
                  <a:gd name="T5" fmla="*/ 30 h 30"/>
                  <a:gd name="T6" fmla="*/ 0 w 703"/>
                  <a:gd name="T7" fmla="*/ 30 h 30"/>
                  <a:gd name="T8" fmla="*/ 0 w 703"/>
                  <a:gd name="T9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03" h="30">
                    <a:moveTo>
                      <a:pt x="0" y="0"/>
                    </a:moveTo>
                    <a:lnTo>
                      <a:pt x="703" y="0"/>
                    </a:lnTo>
                    <a:cubicBezTo>
                      <a:pt x="698" y="9"/>
                      <a:pt x="694" y="19"/>
                      <a:pt x="691" y="30"/>
                    </a:cubicBezTo>
                    <a:lnTo>
                      <a:pt x="0" y="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68" name="Freeform 132"/>
              <p:cNvSpPr>
                <a:spLocks/>
              </p:cNvSpPr>
              <p:nvPr/>
            </p:nvSpPr>
            <p:spPr bwMode="auto">
              <a:xfrm>
                <a:off x="1042" y="775"/>
                <a:ext cx="132" cy="5"/>
              </a:xfrm>
              <a:custGeom>
                <a:avLst/>
                <a:gdLst>
                  <a:gd name="T0" fmla="*/ 0 w 682"/>
                  <a:gd name="T1" fmla="*/ 0 h 29"/>
                  <a:gd name="T2" fmla="*/ 682 w 682"/>
                  <a:gd name="T3" fmla="*/ 0 h 29"/>
                  <a:gd name="T4" fmla="*/ 677 w 682"/>
                  <a:gd name="T5" fmla="*/ 29 h 29"/>
                  <a:gd name="T6" fmla="*/ 0 w 682"/>
                  <a:gd name="T7" fmla="*/ 29 h 29"/>
                  <a:gd name="T8" fmla="*/ 0 w 682"/>
                  <a:gd name="T9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82" h="29">
                    <a:moveTo>
                      <a:pt x="0" y="0"/>
                    </a:moveTo>
                    <a:lnTo>
                      <a:pt x="682" y="0"/>
                    </a:lnTo>
                    <a:cubicBezTo>
                      <a:pt x="680" y="9"/>
                      <a:pt x="678" y="19"/>
                      <a:pt x="677" y="29"/>
                    </a:cubicBezTo>
                    <a:lnTo>
                      <a:pt x="0" y="2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69" name="Freeform 133"/>
              <p:cNvSpPr>
                <a:spLocks/>
              </p:cNvSpPr>
              <p:nvPr/>
            </p:nvSpPr>
            <p:spPr bwMode="auto">
              <a:xfrm>
                <a:off x="1042" y="786"/>
                <a:ext cx="131" cy="6"/>
              </a:xfrm>
              <a:custGeom>
                <a:avLst/>
                <a:gdLst>
                  <a:gd name="T0" fmla="*/ 0 w 673"/>
                  <a:gd name="T1" fmla="*/ 0 h 30"/>
                  <a:gd name="T2" fmla="*/ 673 w 673"/>
                  <a:gd name="T3" fmla="*/ 0 h 30"/>
                  <a:gd name="T4" fmla="*/ 671 w 673"/>
                  <a:gd name="T5" fmla="*/ 30 h 30"/>
                  <a:gd name="T6" fmla="*/ 0 w 673"/>
                  <a:gd name="T7" fmla="*/ 30 h 30"/>
                  <a:gd name="T8" fmla="*/ 0 w 673"/>
                  <a:gd name="T9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73" h="30">
                    <a:moveTo>
                      <a:pt x="0" y="0"/>
                    </a:moveTo>
                    <a:lnTo>
                      <a:pt x="673" y="0"/>
                    </a:lnTo>
                    <a:cubicBezTo>
                      <a:pt x="672" y="10"/>
                      <a:pt x="671" y="20"/>
                      <a:pt x="671" y="30"/>
                    </a:cubicBezTo>
                    <a:lnTo>
                      <a:pt x="0" y="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70" name="Freeform 134"/>
              <p:cNvSpPr>
                <a:spLocks/>
              </p:cNvSpPr>
              <p:nvPr/>
            </p:nvSpPr>
            <p:spPr bwMode="auto">
              <a:xfrm>
                <a:off x="1042" y="798"/>
                <a:ext cx="130" cy="5"/>
              </a:xfrm>
              <a:custGeom>
                <a:avLst/>
                <a:gdLst>
                  <a:gd name="T0" fmla="*/ 0 w 669"/>
                  <a:gd name="T1" fmla="*/ 0 h 30"/>
                  <a:gd name="T2" fmla="*/ 669 w 669"/>
                  <a:gd name="T3" fmla="*/ 0 h 30"/>
                  <a:gd name="T4" fmla="*/ 669 w 669"/>
                  <a:gd name="T5" fmla="*/ 15 h 30"/>
                  <a:gd name="T6" fmla="*/ 669 w 669"/>
                  <a:gd name="T7" fmla="*/ 30 h 30"/>
                  <a:gd name="T8" fmla="*/ 0 w 669"/>
                  <a:gd name="T9" fmla="*/ 30 h 30"/>
                  <a:gd name="T10" fmla="*/ 0 w 669"/>
                  <a:gd name="T11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69" h="30">
                    <a:moveTo>
                      <a:pt x="0" y="0"/>
                    </a:moveTo>
                    <a:lnTo>
                      <a:pt x="669" y="0"/>
                    </a:lnTo>
                    <a:cubicBezTo>
                      <a:pt x="669" y="5"/>
                      <a:pt x="669" y="10"/>
                      <a:pt x="669" y="15"/>
                    </a:cubicBezTo>
                    <a:cubicBezTo>
                      <a:pt x="669" y="20"/>
                      <a:pt x="669" y="25"/>
                      <a:pt x="669" y="30"/>
                    </a:cubicBezTo>
                    <a:lnTo>
                      <a:pt x="0" y="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71" name="Freeform 135"/>
              <p:cNvSpPr>
                <a:spLocks/>
              </p:cNvSpPr>
              <p:nvPr/>
            </p:nvSpPr>
            <p:spPr bwMode="auto">
              <a:xfrm>
                <a:off x="1042" y="809"/>
                <a:ext cx="131" cy="6"/>
              </a:xfrm>
              <a:custGeom>
                <a:avLst/>
                <a:gdLst>
                  <a:gd name="T0" fmla="*/ 0 w 673"/>
                  <a:gd name="T1" fmla="*/ 0 h 30"/>
                  <a:gd name="T2" fmla="*/ 671 w 673"/>
                  <a:gd name="T3" fmla="*/ 0 h 30"/>
                  <a:gd name="T4" fmla="*/ 673 w 673"/>
                  <a:gd name="T5" fmla="*/ 30 h 30"/>
                  <a:gd name="T6" fmla="*/ 0 w 673"/>
                  <a:gd name="T7" fmla="*/ 30 h 30"/>
                  <a:gd name="T8" fmla="*/ 0 w 673"/>
                  <a:gd name="T9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73" h="30">
                    <a:moveTo>
                      <a:pt x="0" y="0"/>
                    </a:moveTo>
                    <a:lnTo>
                      <a:pt x="671" y="0"/>
                    </a:lnTo>
                    <a:cubicBezTo>
                      <a:pt x="671" y="10"/>
                      <a:pt x="672" y="20"/>
                      <a:pt x="673" y="30"/>
                    </a:cubicBezTo>
                    <a:lnTo>
                      <a:pt x="0" y="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72" name="Freeform 136"/>
              <p:cNvSpPr>
                <a:spLocks/>
              </p:cNvSpPr>
              <p:nvPr/>
            </p:nvSpPr>
            <p:spPr bwMode="auto">
              <a:xfrm>
                <a:off x="1042" y="821"/>
                <a:ext cx="132" cy="5"/>
              </a:xfrm>
              <a:custGeom>
                <a:avLst/>
                <a:gdLst>
                  <a:gd name="T0" fmla="*/ 0 w 682"/>
                  <a:gd name="T1" fmla="*/ 0 h 29"/>
                  <a:gd name="T2" fmla="*/ 677 w 682"/>
                  <a:gd name="T3" fmla="*/ 0 h 29"/>
                  <a:gd name="T4" fmla="*/ 682 w 682"/>
                  <a:gd name="T5" fmla="*/ 29 h 29"/>
                  <a:gd name="T6" fmla="*/ 0 w 682"/>
                  <a:gd name="T7" fmla="*/ 29 h 29"/>
                  <a:gd name="T8" fmla="*/ 0 w 682"/>
                  <a:gd name="T9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82" h="29">
                    <a:moveTo>
                      <a:pt x="0" y="0"/>
                    </a:moveTo>
                    <a:lnTo>
                      <a:pt x="677" y="0"/>
                    </a:lnTo>
                    <a:cubicBezTo>
                      <a:pt x="678" y="10"/>
                      <a:pt x="680" y="20"/>
                      <a:pt x="682" y="29"/>
                    </a:cubicBezTo>
                    <a:lnTo>
                      <a:pt x="0" y="2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73" name="Freeform 137"/>
              <p:cNvSpPr>
                <a:spLocks/>
              </p:cNvSpPr>
              <p:nvPr/>
            </p:nvSpPr>
            <p:spPr bwMode="auto">
              <a:xfrm>
                <a:off x="1042" y="769"/>
                <a:ext cx="134" cy="6"/>
              </a:xfrm>
              <a:custGeom>
                <a:avLst/>
                <a:gdLst>
                  <a:gd name="T0" fmla="*/ 0 w 691"/>
                  <a:gd name="T1" fmla="*/ 0 h 30"/>
                  <a:gd name="T2" fmla="*/ 691 w 691"/>
                  <a:gd name="T3" fmla="*/ 0 h 30"/>
                  <a:gd name="T4" fmla="*/ 682 w 691"/>
                  <a:gd name="T5" fmla="*/ 30 h 30"/>
                  <a:gd name="T6" fmla="*/ 0 w 691"/>
                  <a:gd name="T7" fmla="*/ 30 h 30"/>
                  <a:gd name="T8" fmla="*/ 0 w 691"/>
                  <a:gd name="T9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91" h="30">
                    <a:moveTo>
                      <a:pt x="0" y="0"/>
                    </a:moveTo>
                    <a:lnTo>
                      <a:pt x="691" y="0"/>
                    </a:lnTo>
                    <a:cubicBezTo>
                      <a:pt x="688" y="9"/>
                      <a:pt x="685" y="19"/>
                      <a:pt x="682" y="30"/>
                    </a:cubicBezTo>
                    <a:lnTo>
                      <a:pt x="0" y="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74" name="Freeform 138"/>
              <p:cNvSpPr>
                <a:spLocks/>
              </p:cNvSpPr>
              <p:nvPr/>
            </p:nvSpPr>
            <p:spPr bwMode="auto">
              <a:xfrm>
                <a:off x="1042" y="780"/>
                <a:ext cx="131" cy="6"/>
              </a:xfrm>
              <a:custGeom>
                <a:avLst/>
                <a:gdLst>
                  <a:gd name="T0" fmla="*/ 0 w 677"/>
                  <a:gd name="T1" fmla="*/ 0 h 30"/>
                  <a:gd name="T2" fmla="*/ 677 w 677"/>
                  <a:gd name="T3" fmla="*/ 0 h 30"/>
                  <a:gd name="T4" fmla="*/ 675 w 677"/>
                  <a:gd name="T5" fmla="*/ 14 h 30"/>
                  <a:gd name="T6" fmla="*/ 673 w 677"/>
                  <a:gd name="T7" fmla="*/ 30 h 30"/>
                  <a:gd name="T8" fmla="*/ 0 w 677"/>
                  <a:gd name="T9" fmla="*/ 30 h 30"/>
                  <a:gd name="T10" fmla="*/ 0 w 677"/>
                  <a:gd name="T11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77" h="30">
                    <a:moveTo>
                      <a:pt x="0" y="0"/>
                    </a:moveTo>
                    <a:lnTo>
                      <a:pt x="677" y="0"/>
                    </a:lnTo>
                    <a:cubicBezTo>
                      <a:pt x="676" y="5"/>
                      <a:pt x="675" y="9"/>
                      <a:pt x="675" y="14"/>
                    </a:cubicBezTo>
                    <a:cubicBezTo>
                      <a:pt x="674" y="19"/>
                      <a:pt x="674" y="24"/>
                      <a:pt x="673" y="30"/>
                    </a:cubicBezTo>
                    <a:lnTo>
                      <a:pt x="0" y="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75" name="Freeform 139"/>
              <p:cNvSpPr>
                <a:spLocks/>
              </p:cNvSpPr>
              <p:nvPr/>
            </p:nvSpPr>
            <p:spPr bwMode="auto">
              <a:xfrm>
                <a:off x="1042" y="792"/>
                <a:ext cx="130" cy="6"/>
              </a:xfrm>
              <a:custGeom>
                <a:avLst/>
                <a:gdLst>
                  <a:gd name="T0" fmla="*/ 0 w 671"/>
                  <a:gd name="T1" fmla="*/ 0 h 29"/>
                  <a:gd name="T2" fmla="*/ 671 w 671"/>
                  <a:gd name="T3" fmla="*/ 0 h 29"/>
                  <a:gd name="T4" fmla="*/ 669 w 671"/>
                  <a:gd name="T5" fmla="*/ 29 h 29"/>
                  <a:gd name="T6" fmla="*/ 0 w 671"/>
                  <a:gd name="T7" fmla="*/ 29 h 29"/>
                  <a:gd name="T8" fmla="*/ 0 w 671"/>
                  <a:gd name="T9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71" h="29">
                    <a:moveTo>
                      <a:pt x="0" y="0"/>
                    </a:moveTo>
                    <a:lnTo>
                      <a:pt x="671" y="0"/>
                    </a:lnTo>
                    <a:cubicBezTo>
                      <a:pt x="670" y="9"/>
                      <a:pt x="670" y="19"/>
                      <a:pt x="669" y="29"/>
                    </a:cubicBezTo>
                    <a:lnTo>
                      <a:pt x="0" y="2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76" name="Freeform 140"/>
              <p:cNvSpPr>
                <a:spLocks/>
              </p:cNvSpPr>
              <p:nvPr/>
            </p:nvSpPr>
            <p:spPr bwMode="auto">
              <a:xfrm>
                <a:off x="1042" y="803"/>
                <a:ext cx="130" cy="6"/>
              </a:xfrm>
              <a:custGeom>
                <a:avLst/>
                <a:gdLst>
                  <a:gd name="T0" fmla="*/ 0 w 671"/>
                  <a:gd name="T1" fmla="*/ 0 h 29"/>
                  <a:gd name="T2" fmla="*/ 669 w 671"/>
                  <a:gd name="T3" fmla="*/ 0 h 29"/>
                  <a:gd name="T4" fmla="*/ 671 w 671"/>
                  <a:gd name="T5" fmla="*/ 29 h 29"/>
                  <a:gd name="T6" fmla="*/ 0 w 671"/>
                  <a:gd name="T7" fmla="*/ 29 h 29"/>
                  <a:gd name="T8" fmla="*/ 0 w 671"/>
                  <a:gd name="T9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71" h="29">
                    <a:moveTo>
                      <a:pt x="0" y="0"/>
                    </a:moveTo>
                    <a:lnTo>
                      <a:pt x="669" y="0"/>
                    </a:lnTo>
                    <a:cubicBezTo>
                      <a:pt x="670" y="10"/>
                      <a:pt x="670" y="20"/>
                      <a:pt x="671" y="29"/>
                    </a:cubicBezTo>
                    <a:lnTo>
                      <a:pt x="0" y="2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77" name="Freeform 141"/>
              <p:cNvSpPr>
                <a:spLocks/>
              </p:cNvSpPr>
              <p:nvPr/>
            </p:nvSpPr>
            <p:spPr bwMode="auto">
              <a:xfrm>
                <a:off x="1042" y="815"/>
                <a:ext cx="131" cy="6"/>
              </a:xfrm>
              <a:custGeom>
                <a:avLst/>
                <a:gdLst>
                  <a:gd name="T0" fmla="*/ 0 w 677"/>
                  <a:gd name="T1" fmla="*/ 0 h 30"/>
                  <a:gd name="T2" fmla="*/ 673 w 677"/>
                  <a:gd name="T3" fmla="*/ 0 h 30"/>
                  <a:gd name="T4" fmla="*/ 675 w 677"/>
                  <a:gd name="T5" fmla="*/ 16 h 30"/>
                  <a:gd name="T6" fmla="*/ 677 w 677"/>
                  <a:gd name="T7" fmla="*/ 30 h 30"/>
                  <a:gd name="T8" fmla="*/ 0 w 677"/>
                  <a:gd name="T9" fmla="*/ 30 h 30"/>
                  <a:gd name="T10" fmla="*/ 0 w 677"/>
                  <a:gd name="T11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77" h="30">
                    <a:moveTo>
                      <a:pt x="0" y="0"/>
                    </a:moveTo>
                    <a:lnTo>
                      <a:pt x="673" y="0"/>
                    </a:lnTo>
                    <a:cubicBezTo>
                      <a:pt x="674" y="6"/>
                      <a:pt x="674" y="11"/>
                      <a:pt x="675" y="16"/>
                    </a:cubicBezTo>
                    <a:cubicBezTo>
                      <a:pt x="675" y="21"/>
                      <a:pt x="676" y="25"/>
                      <a:pt x="677" y="30"/>
                    </a:cubicBezTo>
                    <a:lnTo>
                      <a:pt x="0" y="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78" name="Freeform 142"/>
              <p:cNvSpPr>
                <a:spLocks/>
              </p:cNvSpPr>
              <p:nvPr/>
            </p:nvSpPr>
            <p:spPr bwMode="auto">
              <a:xfrm>
                <a:off x="1042" y="826"/>
                <a:ext cx="134" cy="6"/>
              </a:xfrm>
              <a:custGeom>
                <a:avLst/>
                <a:gdLst>
                  <a:gd name="T0" fmla="*/ 0 w 691"/>
                  <a:gd name="T1" fmla="*/ 0 h 30"/>
                  <a:gd name="T2" fmla="*/ 682 w 691"/>
                  <a:gd name="T3" fmla="*/ 0 h 30"/>
                  <a:gd name="T4" fmla="*/ 691 w 691"/>
                  <a:gd name="T5" fmla="*/ 30 h 30"/>
                  <a:gd name="T6" fmla="*/ 0 w 691"/>
                  <a:gd name="T7" fmla="*/ 30 h 30"/>
                  <a:gd name="T8" fmla="*/ 0 w 691"/>
                  <a:gd name="T9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91" h="30">
                    <a:moveTo>
                      <a:pt x="0" y="0"/>
                    </a:moveTo>
                    <a:lnTo>
                      <a:pt x="682" y="0"/>
                    </a:lnTo>
                    <a:cubicBezTo>
                      <a:pt x="685" y="11"/>
                      <a:pt x="688" y="21"/>
                      <a:pt x="691" y="30"/>
                    </a:cubicBezTo>
                    <a:lnTo>
                      <a:pt x="0" y="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79" name="Freeform 143"/>
              <p:cNvSpPr>
                <a:spLocks/>
              </p:cNvSpPr>
              <p:nvPr/>
            </p:nvSpPr>
            <p:spPr bwMode="auto">
              <a:xfrm>
                <a:off x="1042" y="832"/>
                <a:ext cx="136" cy="4"/>
              </a:xfrm>
              <a:custGeom>
                <a:avLst/>
                <a:gdLst>
                  <a:gd name="T0" fmla="*/ 0 w 698"/>
                  <a:gd name="T1" fmla="*/ 0 h 20"/>
                  <a:gd name="T2" fmla="*/ 691 w 698"/>
                  <a:gd name="T3" fmla="*/ 0 h 20"/>
                  <a:gd name="T4" fmla="*/ 698 w 698"/>
                  <a:gd name="T5" fmla="*/ 20 h 20"/>
                  <a:gd name="T6" fmla="*/ 0 w 698"/>
                  <a:gd name="T7" fmla="*/ 20 h 20"/>
                  <a:gd name="T8" fmla="*/ 0 w 698"/>
                  <a:gd name="T9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98" h="20">
                    <a:moveTo>
                      <a:pt x="0" y="0"/>
                    </a:moveTo>
                    <a:lnTo>
                      <a:pt x="691" y="0"/>
                    </a:lnTo>
                    <a:cubicBezTo>
                      <a:pt x="693" y="7"/>
                      <a:pt x="696" y="14"/>
                      <a:pt x="698" y="20"/>
                    </a:cubicBezTo>
                    <a:lnTo>
                      <a:pt x="0" y="2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F9AA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80" name="Freeform 144"/>
              <p:cNvSpPr>
                <a:spLocks/>
              </p:cNvSpPr>
              <p:nvPr/>
            </p:nvSpPr>
            <p:spPr bwMode="auto">
              <a:xfrm>
                <a:off x="897" y="753"/>
                <a:ext cx="290" cy="93"/>
              </a:xfrm>
              <a:custGeom>
                <a:avLst/>
                <a:gdLst>
                  <a:gd name="T0" fmla="*/ 1496 w 1496"/>
                  <a:gd name="T1" fmla="*/ 477 h 477"/>
                  <a:gd name="T2" fmla="*/ 93 w 1496"/>
                  <a:gd name="T3" fmla="*/ 477 h 477"/>
                  <a:gd name="T4" fmla="*/ 6 w 1496"/>
                  <a:gd name="T5" fmla="*/ 329 h 477"/>
                  <a:gd name="T6" fmla="*/ 0 w 1496"/>
                  <a:gd name="T7" fmla="*/ 238 h 477"/>
                  <a:gd name="T8" fmla="*/ 6 w 1496"/>
                  <a:gd name="T9" fmla="*/ 148 h 477"/>
                  <a:gd name="T10" fmla="*/ 93 w 1496"/>
                  <a:gd name="T11" fmla="*/ 0 h 477"/>
                  <a:gd name="T12" fmla="*/ 1496 w 1496"/>
                  <a:gd name="T13" fmla="*/ 0 h 477"/>
                  <a:gd name="T14" fmla="*/ 1496 w 1496"/>
                  <a:gd name="T15" fmla="*/ 50 h 477"/>
                  <a:gd name="T16" fmla="*/ 93 w 1496"/>
                  <a:gd name="T17" fmla="*/ 50 h 477"/>
                  <a:gd name="T18" fmla="*/ 56 w 1496"/>
                  <a:gd name="T19" fmla="*/ 154 h 477"/>
                  <a:gd name="T20" fmla="*/ 51 w 1496"/>
                  <a:gd name="T21" fmla="*/ 238 h 477"/>
                  <a:gd name="T22" fmla="*/ 56 w 1496"/>
                  <a:gd name="T23" fmla="*/ 322 h 477"/>
                  <a:gd name="T24" fmla="*/ 93 w 1496"/>
                  <a:gd name="T25" fmla="*/ 426 h 477"/>
                  <a:gd name="T26" fmla="*/ 1496 w 1496"/>
                  <a:gd name="T27" fmla="*/ 426 h 477"/>
                  <a:gd name="T28" fmla="*/ 1496 w 1496"/>
                  <a:gd name="T29" fmla="*/ 477 h 4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496" h="477">
                    <a:moveTo>
                      <a:pt x="1496" y="477"/>
                    </a:moveTo>
                    <a:lnTo>
                      <a:pt x="93" y="477"/>
                    </a:lnTo>
                    <a:cubicBezTo>
                      <a:pt x="45" y="477"/>
                      <a:pt x="16" y="412"/>
                      <a:pt x="6" y="329"/>
                    </a:cubicBezTo>
                    <a:cubicBezTo>
                      <a:pt x="2" y="299"/>
                      <a:pt x="0" y="269"/>
                      <a:pt x="0" y="238"/>
                    </a:cubicBezTo>
                    <a:cubicBezTo>
                      <a:pt x="0" y="208"/>
                      <a:pt x="2" y="177"/>
                      <a:pt x="6" y="148"/>
                    </a:cubicBezTo>
                    <a:cubicBezTo>
                      <a:pt x="16" y="65"/>
                      <a:pt x="45" y="0"/>
                      <a:pt x="93" y="0"/>
                    </a:cubicBezTo>
                    <a:lnTo>
                      <a:pt x="1496" y="0"/>
                    </a:lnTo>
                    <a:lnTo>
                      <a:pt x="1496" y="50"/>
                    </a:lnTo>
                    <a:lnTo>
                      <a:pt x="93" y="50"/>
                    </a:lnTo>
                    <a:cubicBezTo>
                      <a:pt x="76" y="50"/>
                      <a:pt x="63" y="96"/>
                      <a:pt x="56" y="154"/>
                    </a:cubicBezTo>
                    <a:cubicBezTo>
                      <a:pt x="53" y="180"/>
                      <a:pt x="51" y="209"/>
                      <a:pt x="51" y="238"/>
                    </a:cubicBezTo>
                    <a:cubicBezTo>
                      <a:pt x="51" y="267"/>
                      <a:pt x="53" y="296"/>
                      <a:pt x="56" y="322"/>
                    </a:cubicBezTo>
                    <a:cubicBezTo>
                      <a:pt x="63" y="380"/>
                      <a:pt x="76" y="426"/>
                      <a:pt x="93" y="426"/>
                    </a:cubicBezTo>
                    <a:lnTo>
                      <a:pt x="1496" y="426"/>
                    </a:lnTo>
                    <a:lnTo>
                      <a:pt x="1496" y="477"/>
                    </a:lnTo>
                    <a:close/>
                  </a:path>
                </a:pathLst>
              </a:custGeom>
              <a:solidFill>
                <a:srgbClr val="04688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81" name="Freeform 145"/>
              <p:cNvSpPr>
                <a:spLocks/>
              </p:cNvSpPr>
              <p:nvPr/>
            </p:nvSpPr>
            <p:spPr bwMode="auto">
              <a:xfrm>
                <a:off x="897" y="753"/>
                <a:ext cx="145" cy="93"/>
              </a:xfrm>
              <a:custGeom>
                <a:avLst/>
                <a:gdLst>
                  <a:gd name="T0" fmla="*/ 748 w 748"/>
                  <a:gd name="T1" fmla="*/ 477 h 477"/>
                  <a:gd name="T2" fmla="*/ 93 w 748"/>
                  <a:gd name="T3" fmla="*/ 477 h 477"/>
                  <a:gd name="T4" fmla="*/ 6 w 748"/>
                  <a:gd name="T5" fmla="*/ 329 h 477"/>
                  <a:gd name="T6" fmla="*/ 0 w 748"/>
                  <a:gd name="T7" fmla="*/ 238 h 477"/>
                  <a:gd name="T8" fmla="*/ 6 w 748"/>
                  <a:gd name="T9" fmla="*/ 148 h 477"/>
                  <a:gd name="T10" fmla="*/ 93 w 748"/>
                  <a:gd name="T11" fmla="*/ 0 h 477"/>
                  <a:gd name="T12" fmla="*/ 748 w 748"/>
                  <a:gd name="T13" fmla="*/ 0 h 477"/>
                  <a:gd name="T14" fmla="*/ 748 w 748"/>
                  <a:gd name="T15" fmla="*/ 50 h 477"/>
                  <a:gd name="T16" fmla="*/ 93 w 748"/>
                  <a:gd name="T17" fmla="*/ 50 h 477"/>
                  <a:gd name="T18" fmla="*/ 56 w 748"/>
                  <a:gd name="T19" fmla="*/ 154 h 477"/>
                  <a:gd name="T20" fmla="*/ 51 w 748"/>
                  <a:gd name="T21" fmla="*/ 238 h 477"/>
                  <a:gd name="T22" fmla="*/ 56 w 748"/>
                  <a:gd name="T23" fmla="*/ 322 h 477"/>
                  <a:gd name="T24" fmla="*/ 93 w 748"/>
                  <a:gd name="T25" fmla="*/ 426 h 477"/>
                  <a:gd name="T26" fmla="*/ 748 w 748"/>
                  <a:gd name="T27" fmla="*/ 426 h 477"/>
                  <a:gd name="T28" fmla="*/ 748 w 748"/>
                  <a:gd name="T29" fmla="*/ 477 h 4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748" h="477">
                    <a:moveTo>
                      <a:pt x="748" y="477"/>
                    </a:moveTo>
                    <a:lnTo>
                      <a:pt x="93" y="477"/>
                    </a:lnTo>
                    <a:cubicBezTo>
                      <a:pt x="45" y="477"/>
                      <a:pt x="16" y="412"/>
                      <a:pt x="6" y="329"/>
                    </a:cubicBezTo>
                    <a:cubicBezTo>
                      <a:pt x="2" y="299"/>
                      <a:pt x="0" y="269"/>
                      <a:pt x="0" y="238"/>
                    </a:cubicBezTo>
                    <a:cubicBezTo>
                      <a:pt x="0" y="208"/>
                      <a:pt x="2" y="177"/>
                      <a:pt x="6" y="148"/>
                    </a:cubicBezTo>
                    <a:cubicBezTo>
                      <a:pt x="16" y="65"/>
                      <a:pt x="45" y="0"/>
                      <a:pt x="93" y="0"/>
                    </a:cubicBezTo>
                    <a:lnTo>
                      <a:pt x="748" y="0"/>
                    </a:lnTo>
                    <a:lnTo>
                      <a:pt x="748" y="50"/>
                    </a:lnTo>
                    <a:lnTo>
                      <a:pt x="93" y="50"/>
                    </a:lnTo>
                    <a:cubicBezTo>
                      <a:pt x="76" y="50"/>
                      <a:pt x="63" y="96"/>
                      <a:pt x="56" y="154"/>
                    </a:cubicBezTo>
                    <a:cubicBezTo>
                      <a:pt x="53" y="180"/>
                      <a:pt x="51" y="209"/>
                      <a:pt x="51" y="238"/>
                    </a:cubicBezTo>
                    <a:cubicBezTo>
                      <a:pt x="51" y="267"/>
                      <a:pt x="53" y="296"/>
                      <a:pt x="56" y="322"/>
                    </a:cubicBezTo>
                    <a:cubicBezTo>
                      <a:pt x="63" y="380"/>
                      <a:pt x="76" y="426"/>
                      <a:pt x="93" y="426"/>
                    </a:cubicBezTo>
                    <a:lnTo>
                      <a:pt x="748" y="426"/>
                    </a:lnTo>
                    <a:lnTo>
                      <a:pt x="748" y="477"/>
                    </a:lnTo>
                    <a:close/>
                  </a:path>
                </a:pathLst>
              </a:custGeom>
              <a:solidFill>
                <a:srgbClr val="2184A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82" name="Freeform 146"/>
              <p:cNvSpPr>
                <a:spLocks/>
              </p:cNvSpPr>
              <p:nvPr/>
            </p:nvSpPr>
            <p:spPr bwMode="auto">
              <a:xfrm>
                <a:off x="984" y="623"/>
                <a:ext cx="229" cy="73"/>
              </a:xfrm>
              <a:custGeom>
                <a:avLst/>
                <a:gdLst>
                  <a:gd name="T0" fmla="*/ 0 w 1180"/>
                  <a:gd name="T1" fmla="*/ 376 h 376"/>
                  <a:gd name="T2" fmla="*/ 1106 w 1180"/>
                  <a:gd name="T3" fmla="*/ 376 h 376"/>
                  <a:gd name="T4" fmla="*/ 1176 w 1180"/>
                  <a:gd name="T5" fmla="*/ 260 h 376"/>
                  <a:gd name="T6" fmla="*/ 1180 w 1180"/>
                  <a:gd name="T7" fmla="*/ 188 h 376"/>
                  <a:gd name="T8" fmla="*/ 1176 w 1180"/>
                  <a:gd name="T9" fmla="*/ 117 h 376"/>
                  <a:gd name="T10" fmla="*/ 1106 w 1180"/>
                  <a:gd name="T11" fmla="*/ 0 h 376"/>
                  <a:gd name="T12" fmla="*/ 0 w 1180"/>
                  <a:gd name="T13" fmla="*/ 0 h 376"/>
                  <a:gd name="T14" fmla="*/ 0 w 1180"/>
                  <a:gd name="T15" fmla="*/ 40 h 376"/>
                  <a:gd name="T16" fmla="*/ 1106 w 1180"/>
                  <a:gd name="T17" fmla="*/ 40 h 376"/>
                  <a:gd name="T18" fmla="*/ 1136 w 1180"/>
                  <a:gd name="T19" fmla="*/ 122 h 376"/>
                  <a:gd name="T20" fmla="*/ 1140 w 1180"/>
                  <a:gd name="T21" fmla="*/ 188 h 376"/>
                  <a:gd name="T22" fmla="*/ 1136 w 1180"/>
                  <a:gd name="T23" fmla="*/ 255 h 376"/>
                  <a:gd name="T24" fmla="*/ 1106 w 1180"/>
                  <a:gd name="T25" fmla="*/ 336 h 376"/>
                  <a:gd name="T26" fmla="*/ 0 w 1180"/>
                  <a:gd name="T27" fmla="*/ 336 h 376"/>
                  <a:gd name="T28" fmla="*/ 0 w 1180"/>
                  <a:gd name="T29" fmla="*/ 376 h 3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180" h="376">
                    <a:moveTo>
                      <a:pt x="0" y="376"/>
                    </a:moveTo>
                    <a:lnTo>
                      <a:pt x="1106" y="376"/>
                    </a:lnTo>
                    <a:cubicBezTo>
                      <a:pt x="1144" y="376"/>
                      <a:pt x="1167" y="325"/>
                      <a:pt x="1176" y="260"/>
                    </a:cubicBezTo>
                    <a:cubicBezTo>
                      <a:pt x="1178" y="237"/>
                      <a:pt x="1180" y="212"/>
                      <a:pt x="1180" y="188"/>
                    </a:cubicBezTo>
                    <a:cubicBezTo>
                      <a:pt x="1180" y="164"/>
                      <a:pt x="1178" y="140"/>
                      <a:pt x="1176" y="117"/>
                    </a:cubicBezTo>
                    <a:cubicBezTo>
                      <a:pt x="1167" y="51"/>
                      <a:pt x="1144" y="0"/>
                      <a:pt x="1106" y="0"/>
                    </a:cubicBezTo>
                    <a:lnTo>
                      <a:pt x="0" y="0"/>
                    </a:lnTo>
                    <a:lnTo>
                      <a:pt x="0" y="40"/>
                    </a:lnTo>
                    <a:lnTo>
                      <a:pt x="1106" y="40"/>
                    </a:lnTo>
                    <a:cubicBezTo>
                      <a:pt x="1120" y="40"/>
                      <a:pt x="1130" y="76"/>
                      <a:pt x="1136" y="122"/>
                    </a:cubicBezTo>
                    <a:cubicBezTo>
                      <a:pt x="1139" y="142"/>
                      <a:pt x="1140" y="165"/>
                      <a:pt x="1140" y="188"/>
                    </a:cubicBezTo>
                    <a:cubicBezTo>
                      <a:pt x="1140" y="211"/>
                      <a:pt x="1139" y="234"/>
                      <a:pt x="1136" y="255"/>
                    </a:cubicBezTo>
                    <a:cubicBezTo>
                      <a:pt x="1130" y="300"/>
                      <a:pt x="1120" y="336"/>
                      <a:pt x="1106" y="336"/>
                    </a:cubicBezTo>
                    <a:lnTo>
                      <a:pt x="0" y="336"/>
                    </a:lnTo>
                    <a:lnTo>
                      <a:pt x="0" y="376"/>
                    </a:lnTo>
                    <a:close/>
                  </a:path>
                </a:pathLst>
              </a:custGeom>
              <a:solidFill>
                <a:srgbClr val="43505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83" name="Freeform 147"/>
              <p:cNvSpPr>
                <a:spLocks/>
              </p:cNvSpPr>
              <p:nvPr/>
            </p:nvSpPr>
            <p:spPr bwMode="auto">
              <a:xfrm>
                <a:off x="1096" y="623"/>
                <a:ext cx="117" cy="73"/>
              </a:xfrm>
              <a:custGeom>
                <a:avLst/>
                <a:gdLst>
                  <a:gd name="T0" fmla="*/ 0 w 602"/>
                  <a:gd name="T1" fmla="*/ 376 h 376"/>
                  <a:gd name="T2" fmla="*/ 528 w 602"/>
                  <a:gd name="T3" fmla="*/ 376 h 376"/>
                  <a:gd name="T4" fmla="*/ 598 w 602"/>
                  <a:gd name="T5" fmla="*/ 260 h 376"/>
                  <a:gd name="T6" fmla="*/ 602 w 602"/>
                  <a:gd name="T7" fmla="*/ 188 h 376"/>
                  <a:gd name="T8" fmla="*/ 598 w 602"/>
                  <a:gd name="T9" fmla="*/ 117 h 376"/>
                  <a:gd name="T10" fmla="*/ 528 w 602"/>
                  <a:gd name="T11" fmla="*/ 0 h 376"/>
                  <a:gd name="T12" fmla="*/ 0 w 602"/>
                  <a:gd name="T13" fmla="*/ 0 h 376"/>
                  <a:gd name="T14" fmla="*/ 0 w 602"/>
                  <a:gd name="T15" fmla="*/ 40 h 376"/>
                  <a:gd name="T16" fmla="*/ 528 w 602"/>
                  <a:gd name="T17" fmla="*/ 40 h 376"/>
                  <a:gd name="T18" fmla="*/ 558 w 602"/>
                  <a:gd name="T19" fmla="*/ 122 h 376"/>
                  <a:gd name="T20" fmla="*/ 562 w 602"/>
                  <a:gd name="T21" fmla="*/ 188 h 376"/>
                  <a:gd name="T22" fmla="*/ 558 w 602"/>
                  <a:gd name="T23" fmla="*/ 255 h 376"/>
                  <a:gd name="T24" fmla="*/ 528 w 602"/>
                  <a:gd name="T25" fmla="*/ 336 h 376"/>
                  <a:gd name="T26" fmla="*/ 0 w 602"/>
                  <a:gd name="T27" fmla="*/ 336 h 376"/>
                  <a:gd name="T28" fmla="*/ 0 w 602"/>
                  <a:gd name="T29" fmla="*/ 376 h 3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602" h="376">
                    <a:moveTo>
                      <a:pt x="0" y="376"/>
                    </a:moveTo>
                    <a:lnTo>
                      <a:pt x="528" y="376"/>
                    </a:lnTo>
                    <a:cubicBezTo>
                      <a:pt x="566" y="376"/>
                      <a:pt x="589" y="325"/>
                      <a:pt x="598" y="260"/>
                    </a:cubicBezTo>
                    <a:cubicBezTo>
                      <a:pt x="600" y="237"/>
                      <a:pt x="602" y="212"/>
                      <a:pt x="602" y="188"/>
                    </a:cubicBezTo>
                    <a:cubicBezTo>
                      <a:pt x="602" y="164"/>
                      <a:pt x="600" y="140"/>
                      <a:pt x="598" y="117"/>
                    </a:cubicBezTo>
                    <a:cubicBezTo>
                      <a:pt x="589" y="51"/>
                      <a:pt x="566" y="0"/>
                      <a:pt x="528" y="0"/>
                    </a:cubicBezTo>
                    <a:lnTo>
                      <a:pt x="0" y="0"/>
                    </a:lnTo>
                    <a:lnTo>
                      <a:pt x="0" y="40"/>
                    </a:lnTo>
                    <a:lnTo>
                      <a:pt x="528" y="40"/>
                    </a:lnTo>
                    <a:cubicBezTo>
                      <a:pt x="542" y="40"/>
                      <a:pt x="552" y="76"/>
                      <a:pt x="558" y="122"/>
                    </a:cubicBezTo>
                    <a:cubicBezTo>
                      <a:pt x="561" y="142"/>
                      <a:pt x="562" y="165"/>
                      <a:pt x="562" y="188"/>
                    </a:cubicBezTo>
                    <a:cubicBezTo>
                      <a:pt x="562" y="211"/>
                      <a:pt x="561" y="234"/>
                      <a:pt x="558" y="255"/>
                    </a:cubicBezTo>
                    <a:cubicBezTo>
                      <a:pt x="552" y="300"/>
                      <a:pt x="542" y="336"/>
                      <a:pt x="528" y="336"/>
                    </a:cubicBezTo>
                    <a:lnTo>
                      <a:pt x="0" y="336"/>
                    </a:lnTo>
                    <a:lnTo>
                      <a:pt x="0" y="376"/>
                    </a:lnTo>
                    <a:close/>
                  </a:path>
                </a:pathLst>
              </a:custGeom>
              <a:solidFill>
                <a:srgbClr val="3039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84" name="Freeform 148"/>
              <p:cNvSpPr>
                <a:spLocks/>
              </p:cNvSpPr>
              <p:nvPr/>
            </p:nvSpPr>
            <p:spPr bwMode="auto">
              <a:xfrm>
                <a:off x="916" y="1061"/>
                <a:ext cx="331" cy="70"/>
              </a:xfrm>
              <a:custGeom>
                <a:avLst/>
                <a:gdLst>
                  <a:gd name="T0" fmla="*/ 24 w 1708"/>
                  <a:gd name="T1" fmla="*/ 0 h 360"/>
                  <a:gd name="T2" fmla="*/ 1683 w 1708"/>
                  <a:gd name="T3" fmla="*/ 0 h 360"/>
                  <a:gd name="T4" fmla="*/ 1708 w 1708"/>
                  <a:gd name="T5" fmla="*/ 24 h 360"/>
                  <a:gd name="T6" fmla="*/ 1708 w 1708"/>
                  <a:gd name="T7" fmla="*/ 133 h 360"/>
                  <a:gd name="T8" fmla="*/ 1155 w 1708"/>
                  <a:gd name="T9" fmla="*/ 133 h 360"/>
                  <a:gd name="T10" fmla="*/ 1155 w 1708"/>
                  <a:gd name="T11" fmla="*/ 151 h 360"/>
                  <a:gd name="T12" fmla="*/ 1155 w 1708"/>
                  <a:gd name="T13" fmla="*/ 169 h 360"/>
                  <a:gd name="T14" fmla="*/ 1155 w 1708"/>
                  <a:gd name="T15" fmla="*/ 187 h 360"/>
                  <a:gd name="T16" fmla="*/ 1155 w 1708"/>
                  <a:gd name="T17" fmla="*/ 205 h 360"/>
                  <a:gd name="T18" fmla="*/ 1155 w 1708"/>
                  <a:gd name="T19" fmla="*/ 223 h 360"/>
                  <a:gd name="T20" fmla="*/ 1155 w 1708"/>
                  <a:gd name="T21" fmla="*/ 241 h 360"/>
                  <a:gd name="T22" fmla="*/ 1155 w 1708"/>
                  <a:gd name="T23" fmla="*/ 259 h 360"/>
                  <a:gd name="T24" fmla="*/ 1155 w 1708"/>
                  <a:gd name="T25" fmla="*/ 277 h 360"/>
                  <a:gd name="T26" fmla="*/ 1155 w 1708"/>
                  <a:gd name="T27" fmla="*/ 295 h 360"/>
                  <a:gd name="T28" fmla="*/ 1155 w 1708"/>
                  <a:gd name="T29" fmla="*/ 313 h 360"/>
                  <a:gd name="T30" fmla="*/ 1155 w 1708"/>
                  <a:gd name="T31" fmla="*/ 331 h 360"/>
                  <a:gd name="T32" fmla="*/ 1155 w 1708"/>
                  <a:gd name="T33" fmla="*/ 349 h 360"/>
                  <a:gd name="T34" fmla="*/ 1155 w 1708"/>
                  <a:gd name="T35" fmla="*/ 360 h 360"/>
                  <a:gd name="T36" fmla="*/ 1119 w 1708"/>
                  <a:gd name="T37" fmla="*/ 360 h 360"/>
                  <a:gd name="T38" fmla="*/ 24 w 1708"/>
                  <a:gd name="T39" fmla="*/ 360 h 360"/>
                  <a:gd name="T40" fmla="*/ 0 w 1708"/>
                  <a:gd name="T41" fmla="*/ 335 h 360"/>
                  <a:gd name="T42" fmla="*/ 0 w 1708"/>
                  <a:gd name="T43" fmla="*/ 24 h 360"/>
                  <a:gd name="T44" fmla="*/ 24 w 1708"/>
                  <a:gd name="T45" fmla="*/ 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708" h="360">
                    <a:moveTo>
                      <a:pt x="24" y="0"/>
                    </a:moveTo>
                    <a:lnTo>
                      <a:pt x="1683" y="0"/>
                    </a:lnTo>
                    <a:cubicBezTo>
                      <a:pt x="1697" y="0"/>
                      <a:pt x="1708" y="11"/>
                      <a:pt x="1708" y="24"/>
                    </a:cubicBezTo>
                    <a:lnTo>
                      <a:pt x="1708" y="133"/>
                    </a:lnTo>
                    <a:lnTo>
                      <a:pt x="1155" y="133"/>
                    </a:lnTo>
                    <a:lnTo>
                      <a:pt x="1155" y="151"/>
                    </a:lnTo>
                    <a:lnTo>
                      <a:pt x="1155" y="169"/>
                    </a:lnTo>
                    <a:lnTo>
                      <a:pt x="1155" y="187"/>
                    </a:lnTo>
                    <a:lnTo>
                      <a:pt x="1155" y="205"/>
                    </a:lnTo>
                    <a:lnTo>
                      <a:pt x="1155" y="223"/>
                    </a:lnTo>
                    <a:lnTo>
                      <a:pt x="1155" y="241"/>
                    </a:lnTo>
                    <a:lnTo>
                      <a:pt x="1155" y="259"/>
                    </a:lnTo>
                    <a:lnTo>
                      <a:pt x="1155" y="277"/>
                    </a:lnTo>
                    <a:lnTo>
                      <a:pt x="1155" y="295"/>
                    </a:lnTo>
                    <a:lnTo>
                      <a:pt x="1155" y="313"/>
                    </a:lnTo>
                    <a:lnTo>
                      <a:pt x="1155" y="331"/>
                    </a:lnTo>
                    <a:lnTo>
                      <a:pt x="1155" y="349"/>
                    </a:lnTo>
                    <a:lnTo>
                      <a:pt x="1155" y="360"/>
                    </a:lnTo>
                    <a:lnTo>
                      <a:pt x="1119" y="360"/>
                    </a:lnTo>
                    <a:lnTo>
                      <a:pt x="24" y="360"/>
                    </a:lnTo>
                    <a:cubicBezTo>
                      <a:pt x="11" y="360"/>
                      <a:pt x="0" y="349"/>
                      <a:pt x="0" y="335"/>
                    </a:cubicBezTo>
                    <a:lnTo>
                      <a:pt x="0" y="24"/>
                    </a:lnTo>
                    <a:cubicBezTo>
                      <a:pt x="0" y="11"/>
                      <a:pt x="11" y="0"/>
                      <a:pt x="24" y="0"/>
                    </a:cubicBezTo>
                    <a:close/>
                  </a:path>
                </a:pathLst>
              </a:custGeom>
              <a:solidFill>
                <a:srgbClr val="04688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85" name="Freeform 149"/>
              <p:cNvSpPr>
                <a:spLocks/>
              </p:cNvSpPr>
              <p:nvPr/>
            </p:nvSpPr>
            <p:spPr bwMode="auto">
              <a:xfrm>
                <a:off x="916" y="1061"/>
                <a:ext cx="166" cy="70"/>
              </a:xfrm>
              <a:custGeom>
                <a:avLst/>
                <a:gdLst>
                  <a:gd name="T0" fmla="*/ 24 w 854"/>
                  <a:gd name="T1" fmla="*/ 0 h 360"/>
                  <a:gd name="T2" fmla="*/ 854 w 854"/>
                  <a:gd name="T3" fmla="*/ 0 h 360"/>
                  <a:gd name="T4" fmla="*/ 854 w 854"/>
                  <a:gd name="T5" fmla="*/ 360 h 360"/>
                  <a:gd name="T6" fmla="*/ 24 w 854"/>
                  <a:gd name="T7" fmla="*/ 360 h 360"/>
                  <a:gd name="T8" fmla="*/ 0 w 854"/>
                  <a:gd name="T9" fmla="*/ 335 h 360"/>
                  <a:gd name="T10" fmla="*/ 0 w 854"/>
                  <a:gd name="T11" fmla="*/ 24 h 360"/>
                  <a:gd name="T12" fmla="*/ 24 w 854"/>
                  <a:gd name="T13" fmla="*/ 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54" h="360">
                    <a:moveTo>
                      <a:pt x="24" y="0"/>
                    </a:moveTo>
                    <a:lnTo>
                      <a:pt x="854" y="0"/>
                    </a:lnTo>
                    <a:lnTo>
                      <a:pt x="854" y="360"/>
                    </a:lnTo>
                    <a:lnTo>
                      <a:pt x="24" y="360"/>
                    </a:lnTo>
                    <a:cubicBezTo>
                      <a:pt x="11" y="360"/>
                      <a:pt x="0" y="349"/>
                      <a:pt x="0" y="335"/>
                    </a:cubicBezTo>
                    <a:lnTo>
                      <a:pt x="0" y="24"/>
                    </a:lnTo>
                    <a:cubicBezTo>
                      <a:pt x="0" y="11"/>
                      <a:pt x="11" y="0"/>
                      <a:pt x="24" y="0"/>
                    </a:cubicBezTo>
                    <a:close/>
                  </a:path>
                </a:pathLst>
              </a:custGeom>
              <a:solidFill>
                <a:srgbClr val="2184A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86" name="Rectangle 150"/>
              <p:cNvSpPr>
                <a:spLocks noChangeArrowheads="1"/>
              </p:cNvSpPr>
              <p:nvPr/>
            </p:nvSpPr>
            <p:spPr bwMode="auto">
              <a:xfrm>
                <a:off x="1192" y="1065"/>
                <a:ext cx="27" cy="22"/>
              </a:xfrm>
              <a:prstGeom prst="rect">
                <a:avLst/>
              </a:prstGeom>
              <a:solidFill>
                <a:srgbClr val="F2AE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87" name="Rectangle 151"/>
              <p:cNvSpPr>
                <a:spLocks noChangeArrowheads="1"/>
              </p:cNvSpPr>
              <p:nvPr/>
            </p:nvSpPr>
            <p:spPr bwMode="auto">
              <a:xfrm>
                <a:off x="949" y="1065"/>
                <a:ext cx="28" cy="61"/>
              </a:xfrm>
              <a:prstGeom prst="rect">
                <a:avLst/>
              </a:prstGeom>
              <a:solidFill>
                <a:srgbClr val="FFD0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88" name="Rectangle 152"/>
              <p:cNvSpPr>
                <a:spLocks noChangeArrowheads="1"/>
              </p:cNvSpPr>
              <p:nvPr/>
            </p:nvSpPr>
            <p:spPr bwMode="auto">
              <a:xfrm>
                <a:off x="1181" y="1065"/>
                <a:ext cx="7" cy="22"/>
              </a:xfrm>
              <a:prstGeom prst="rect">
                <a:avLst/>
              </a:prstGeom>
              <a:solidFill>
                <a:srgbClr val="FFD0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89" name="Rectangle 153"/>
              <p:cNvSpPr>
                <a:spLocks noChangeArrowheads="1"/>
              </p:cNvSpPr>
              <p:nvPr/>
            </p:nvSpPr>
            <p:spPr bwMode="auto">
              <a:xfrm>
                <a:off x="938" y="1065"/>
                <a:ext cx="7" cy="61"/>
              </a:xfrm>
              <a:prstGeom prst="rect">
                <a:avLst/>
              </a:prstGeom>
              <a:solidFill>
                <a:srgbClr val="FFEA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90" name="Freeform 154"/>
              <p:cNvSpPr>
                <a:spLocks/>
              </p:cNvSpPr>
              <p:nvPr/>
            </p:nvSpPr>
            <p:spPr bwMode="auto">
              <a:xfrm>
                <a:off x="896" y="991"/>
                <a:ext cx="331" cy="70"/>
              </a:xfrm>
              <a:custGeom>
                <a:avLst/>
                <a:gdLst>
                  <a:gd name="T0" fmla="*/ 25 w 1708"/>
                  <a:gd name="T1" fmla="*/ 0 h 360"/>
                  <a:gd name="T2" fmla="*/ 1683 w 1708"/>
                  <a:gd name="T3" fmla="*/ 0 h 360"/>
                  <a:gd name="T4" fmla="*/ 1708 w 1708"/>
                  <a:gd name="T5" fmla="*/ 25 h 360"/>
                  <a:gd name="T6" fmla="*/ 1708 w 1708"/>
                  <a:gd name="T7" fmla="*/ 335 h 360"/>
                  <a:gd name="T8" fmla="*/ 1683 w 1708"/>
                  <a:gd name="T9" fmla="*/ 360 h 360"/>
                  <a:gd name="T10" fmla="*/ 25 w 1708"/>
                  <a:gd name="T11" fmla="*/ 360 h 360"/>
                  <a:gd name="T12" fmla="*/ 0 w 1708"/>
                  <a:gd name="T13" fmla="*/ 335 h 360"/>
                  <a:gd name="T14" fmla="*/ 0 w 1708"/>
                  <a:gd name="T15" fmla="*/ 25 h 360"/>
                  <a:gd name="T16" fmla="*/ 25 w 1708"/>
                  <a:gd name="T17" fmla="*/ 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708" h="360">
                    <a:moveTo>
                      <a:pt x="25" y="0"/>
                    </a:moveTo>
                    <a:lnTo>
                      <a:pt x="1683" y="0"/>
                    </a:lnTo>
                    <a:cubicBezTo>
                      <a:pt x="1697" y="0"/>
                      <a:pt x="1708" y="11"/>
                      <a:pt x="1708" y="25"/>
                    </a:cubicBezTo>
                    <a:lnTo>
                      <a:pt x="1708" y="335"/>
                    </a:lnTo>
                    <a:cubicBezTo>
                      <a:pt x="1708" y="349"/>
                      <a:pt x="1697" y="360"/>
                      <a:pt x="1683" y="360"/>
                    </a:cubicBezTo>
                    <a:lnTo>
                      <a:pt x="25" y="360"/>
                    </a:lnTo>
                    <a:cubicBezTo>
                      <a:pt x="11" y="360"/>
                      <a:pt x="0" y="349"/>
                      <a:pt x="0" y="335"/>
                    </a:cubicBezTo>
                    <a:lnTo>
                      <a:pt x="0" y="25"/>
                    </a:lnTo>
                    <a:cubicBezTo>
                      <a:pt x="0" y="11"/>
                      <a:pt x="11" y="0"/>
                      <a:pt x="25" y="0"/>
                    </a:cubicBezTo>
                    <a:close/>
                  </a:path>
                </a:pathLst>
              </a:custGeom>
              <a:solidFill>
                <a:srgbClr val="00ADB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91" name="Freeform 155"/>
              <p:cNvSpPr>
                <a:spLocks/>
              </p:cNvSpPr>
              <p:nvPr/>
            </p:nvSpPr>
            <p:spPr bwMode="auto">
              <a:xfrm>
                <a:off x="896" y="991"/>
                <a:ext cx="166" cy="70"/>
              </a:xfrm>
              <a:custGeom>
                <a:avLst/>
                <a:gdLst>
                  <a:gd name="T0" fmla="*/ 25 w 854"/>
                  <a:gd name="T1" fmla="*/ 0 h 360"/>
                  <a:gd name="T2" fmla="*/ 854 w 854"/>
                  <a:gd name="T3" fmla="*/ 0 h 360"/>
                  <a:gd name="T4" fmla="*/ 854 w 854"/>
                  <a:gd name="T5" fmla="*/ 360 h 360"/>
                  <a:gd name="T6" fmla="*/ 25 w 854"/>
                  <a:gd name="T7" fmla="*/ 360 h 360"/>
                  <a:gd name="T8" fmla="*/ 0 w 854"/>
                  <a:gd name="T9" fmla="*/ 335 h 360"/>
                  <a:gd name="T10" fmla="*/ 0 w 854"/>
                  <a:gd name="T11" fmla="*/ 25 h 360"/>
                  <a:gd name="T12" fmla="*/ 25 w 854"/>
                  <a:gd name="T13" fmla="*/ 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54" h="360">
                    <a:moveTo>
                      <a:pt x="25" y="0"/>
                    </a:moveTo>
                    <a:lnTo>
                      <a:pt x="854" y="0"/>
                    </a:lnTo>
                    <a:lnTo>
                      <a:pt x="854" y="360"/>
                    </a:lnTo>
                    <a:lnTo>
                      <a:pt x="25" y="360"/>
                    </a:lnTo>
                    <a:cubicBezTo>
                      <a:pt x="11" y="360"/>
                      <a:pt x="0" y="349"/>
                      <a:pt x="0" y="335"/>
                    </a:cubicBezTo>
                    <a:lnTo>
                      <a:pt x="0" y="25"/>
                    </a:lnTo>
                    <a:cubicBezTo>
                      <a:pt x="0" y="11"/>
                      <a:pt x="11" y="0"/>
                      <a:pt x="25" y="0"/>
                    </a:cubicBezTo>
                    <a:close/>
                  </a:path>
                </a:pathLst>
              </a:custGeom>
              <a:solidFill>
                <a:srgbClr val="27D3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92" name="Rectangle 156"/>
              <p:cNvSpPr>
                <a:spLocks noChangeArrowheads="1"/>
              </p:cNvSpPr>
              <p:nvPr/>
            </p:nvSpPr>
            <p:spPr bwMode="auto">
              <a:xfrm>
                <a:off x="1172" y="995"/>
                <a:ext cx="28" cy="62"/>
              </a:xfrm>
              <a:prstGeom prst="rect">
                <a:avLst/>
              </a:prstGeom>
              <a:solidFill>
                <a:srgbClr val="F2AE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93" name="Rectangle 157"/>
              <p:cNvSpPr>
                <a:spLocks noChangeArrowheads="1"/>
              </p:cNvSpPr>
              <p:nvPr/>
            </p:nvSpPr>
            <p:spPr bwMode="auto">
              <a:xfrm>
                <a:off x="929" y="995"/>
                <a:ext cx="28" cy="62"/>
              </a:xfrm>
              <a:prstGeom prst="rect">
                <a:avLst/>
              </a:prstGeom>
              <a:solidFill>
                <a:srgbClr val="FFD0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94" name="Rectangle 158"/>
              <p:cNvSpPr>
                <a:spLocks noChangeArrowheads="1"/>
              </p:cNvSpPr>
              <p:nvPr/>
            </p:nvSpPr>
            <p:spPr bwMode="auto">
              <a:xfrm>
                <a:off x="1161" y="995"/>
                <a:ext cx="7" cy="62"/>
              </a:xfrm>
              <a:prstGeom prst="rect">
                <a:avLst/>
              </a:prstGeom>
              <a:solidFill>
                <a:srgbClr val="FFD0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95" name="Rectangle 159"/>
              <p:cNvSpPr>
                <a:spLocks noChangeArrowheads="1"/>
              </p:cNvSpPr>
              <p:nvPr/>
            </p:nvSpPr>
            <p:spPr bwMode="auto">
              <a:xfrm>
                <a:off x="918" y="995"/>
                <a:ext cx="7" cy="62"/>
              </a:xfrm>
              <a:prstGeom prst="rect">
                <a:avLst/>
              </a:prstGeom>
              <a:solidFill>
                <a:srgbClr val="FFEA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96" name="Freeform 160"/>
              <p:cNvSpPr>
                <a:spLocks/>
              </p:cNvSpPr>
              <p:nvPr/>
            </p:nvSpPr>
            <p:spPr bwMode="auto">
              <a:xfrm>
                <a:off x="916" y="921"/>
                <a:ext cx="331" cy="70"/>
              </a:xfrm>
              <a:custGeom>
                <a:avLst/>
                <a:gdLst>
                  <a:gd name="T0" fmla="*/ 24 w 1708"/>
                  <a:gd name="T1" fmla="*/ 0 h 360"/>
                  <a:gd name="T2" fmla="*/ 1683 w 1708"/>
                  <a:gd name="T3" fmla="*/ 0 h 360"/>
                  <a:gd name="T4" fmla="*/ 1708 w 1708"/>
                  <a:gd name="T5" fmla="*/ 25 h 360"/>
                  <a:gd name="T6" fmla="*/ 1708 w 1708"/>
                  <a:gd name="T7" fmla="*/ 335 h 360"/>
                  <a:gd name="T8" fmla="*/ 1683 w 1708"/>
                  <a:gd name="T9" fmla="*/ 360 h 360"/>
                  <a:gd name="T10" fmla="*/ 24 w 1708"/>
                  <a:gd name="T11" fmla="*/ 360 h 360"/>
                  <a:gd name="T12" fmla="*/ 0 w 1708"/>
                  <a:gd name="T13" fmla="*/ 335 h 360"/>
                  <a:gd name="T14" fmla="*/ 0 w 1708"/>
                  <a:gd name="T15" fmla="*/ 25 h 360"/>
                  <a:gd name="T16" fmla="*/ 24 w 1708"/>
                  <a:gd name="T17" fmla="*/ 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708" h="360">
                    <a:moveTo>
                      <a:pt x="24" y="0"/>
                    </a:moveTo>
                    <a:lnTo>
                      <a:pt x="1683" y="0"/>
                    </a:lnTo>
                    <a:cubicBezTo>
                      <a:pt x="1697" y="0"/>
                      <a:pt x="1708" y="11"/>
                      <a:pt x="1708" y="25"/>
                    </a:cubicBezTo>
                    <a:lnTo>
                      <a:pt x="1708" y="335"/>
                    </a:lnTo>
                    <a:cubicBezTo>
                      <a:pt x="1708" y="349"/>
                      <a:pt x="1697" y="360"/>
                      <a:pt x="1683" y="360"/>
                    </a:cubicBezTo>
                    <a:lnTo>
                      <a:pt x="24" y="360"/>
                    </a:lnTo>
                    <a:cubicBezTo>
                      <a:pt x="11" y="360"/>
                      <a:pt x="0" y="349"/>
                      <a:pt x="0" y="335"/>
                    </a:cubicBezTo>
                    <a:lnTo>
                      <a:pt x="0" y="25"/>
                    </a:lnTo>
                    <a:cubicBezTo>
                      <a:pt x="0" y="11"/>
                      <a:pt x="11" y="0"/>
                      <a:pt x="24" y="0"/>
                    </a:cubicBezTo>
                    <a:close/>
                  </a:path>
                </a:pathLst>
              </a:custGeom>
              <a:solidFill>
                <a:srgbClr val="EF75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97" name="Freeform 161"/>
              <p:cNvSpPr>
                <a:spLocks/>
              </p:cNvSpPr>
              <p:nvPr/>
            </p:nvSpPr>
            <p:spPr bwMode="auto">
              <a:xfrm>
                <a:off x="916" y="921"/>
                <a:ext cx="166" cy="70"/>
              </a:xfrm>
              <a:custGeom>
                <a:avLst/>
                <a:gdLst>
                  <a:gd name="T0" fmla="*/ 24 w 854"/>
                  <a:gd name="T1" fmla="*/ 0 h 360"/>
                  <a:gd name="T2" fmla="*/ 854 w 854"/>
                  <a:gd name="T3" fmla="*/ 0 h 360"/>
                  <a:gd name="T4" fmla="*/ 854 w 854"/>
                  <a:gd name="T5" fmla="*/ 360 h 360"/>
                  <a:gd name="T6" fmla="*/ 24 w 854"/>
                  <a:gd name="T7" fmla="*/ 360 h 360"/>
                  <a:gd name="T8" fmla="*/ 0 w 854"/>
                  <a:gd name="T9" fmla="*/ 335 h 360"/>
                  <a:gd name="T10" fmla="*/ 0 w 854"/>
                  <a:gd name="T11" fmla="*/ 25 h 360"/>
                  <a:gd name="T12" fmla="*/ 24 w 854"/>
                  <a:gd name="T13" fmla="*/ 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54" h="360">
                    <a:moveTo>
                      <a:pt x="24" y="0"/>
                    </a:moveTo>
                    <a:lnTo>
                      <a:pt x="854" y="0"/>
                    </a:lnTo>
                    <a:lnTo>
                      <a:pt x="854" y="360"/>
                    </a:lnTo>
                    <a:lnTo>
                      <a:pt x="24" y="360"/>
                    </a:lnTo>
                    <a:cubicBezTo>
                      <a:pt x="11" y="360"/>
                      <a:pt x="0" y="349"/>
                      <a:pt x="0" y="335"/>
                    </a:cubicBezTo>
                    <a:lnTo>
                      <a:pt x="0" y="25"/>
                    </a:lnTo>
                    <a:cubicBezTo>
                      <a:pt x="0" y="11"/>
                      <a:pt x="11" y="0"/>
                      <a:pt x="24" y="0"/>
                    </a:cubicBezTo>
                    <a:close/>
                  </a:path>
                </a:pathLst>
              </a:custGeom>
              <a:solidFill>
                <a:srgbClr val="FF973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98" name="Rectangle 162"/>
              <p:cNvSpPr>
                <a:spLocks noChangeArrowheads="1"/>
              </p:cNvSpPr>
              <p:nvPr/>
            </p:nvSpPr>
            <p:spPr bwMode="auto">
              <a:xfrm>
                <a:off x="1192" y="926"/>
                <a:ext cx="27" cy="61"/>
              </a:xfrm>
              <a:prstGeom prst="rect">
                <a:avLst/>
              </a:prstGeom>
              <a:solidFill>
                <a:srgbClr val="F2AE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99" name="Rectangle 163"/>
              <p:cNvSpPr>
                <a:spLocks noChangeArrowheads="1"/>
              </p:cNvSpPr>
              <p:nvPr/>
            </p:nvSpPr>
            <p:spPr bwMode="auto">
              <a:xfrm>
                <a:off x="949" y="926"/>
                <a:ext cx="28" cy="61"/>
              </a:xfrm>
              <a:prstGeom prst="rect">
                <a:avLst/>
              </a:prstGeom>
              <a:solidFill>
                <a:srgbClr val="FFD0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00" name="Rectangle 164"/>
              <p:cNvSpPr>
                <a:spLocks noChangeArrowheads="1"/>
              </p:cNvSpPr>
              <p:nvPr/>
            </p:nvSpPr>
            <p:spPr bwMode="auto">
              <a:xfrm>
                <a:off x="1181" y="926"/>
                <a:ext cx="7" cy="61"/>
              </a:xfrm>
              <a:prstGeom prst="rect">
                <a:avLst/>
              </a:prstGeom>
              <a:solidFill>
                <a:srgbClr val="FFD0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01" name="Rectangle 165"/>
              <p:cNvSpPr>
                <a:spLocks noChangeArrowheads="1"/>
              </p:cNvSpPr>
              <p:nvPr/>
            </p:nvSpPr>
            <p:spPr bwMode="auto">
              <a:xfrm>
                <a:off x="938" y="926"/>
                <a:ext cx="7" cy="61"/>
              </a:xfrm>
              <a:prstGeom prst="rect">
                <a:avLst/>
              </a:prstGeom>
              <a:solidFill>
                <a:srgbClr val="FFEA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02" name="Freeform 166"/>
              <p:cNvSpPr>
                <a:spLocks/>
              </p:cNvSpPr>
              <p:nvPr/>
            </p:nvSpPr>
            <p:spPr bwMode="auto">
              <a:xfrm>
                <a:off x="874" y="1131"/>
                <a:ext cx="284" cy="80"/>
              </a:xfrm>
              <a:custGeom>
                <a:avLst/>
                <a:gdLst>
                  <a:gd name="T0" fmla="*/ 29 w 1461"/>
                  <a:gd name="T1" fmla="*/ 0 h 416"/>
                  <a:gd name="T2" fmla="*/ 1334 w 1461"/>
                  <a:gd name="T3" fmla="*/ 0 h 416"/>
                  <a:gd name="T4" fmla="*/ 1334 w 1461"/>
                  <a:gd name="T5" fmla="*/ 50 h 416"/>
                  <a:gd name="T6" fmla="*/ 1370 w 1461"/>
                  <a:gd name="T7" fmla="*/ 50 h 416"/>
                  <a:gd name="T8" fmla="*/ 1461 w 1461"/>
                  <a:gd name="T9" fmla="*/ 50 h 416"/>
                  <a:gd name="T10" fmla="*/ 1383 w 1461"/>
                  <a:gd name="T11" fmla="*/ 172 h 416"/>
                  <a:gd name="T12" fmla="*/ 1379 w 1461"/>
                  <a:gd name="T13" fmla="*/ 242 h 416"/>
                  <a:gd name="T14" fmla="*/ 1383 w 1461"/>
                  <a:gd name="T15" fmla="*/ 311 h 416"/>
                  <a:gd name="T16" fmla="*/ 1423 w 1461"/>
                  <a:gd name="T17" fmla="*/ 416 h 416"/>
                  <a:gd name="T18" fmla="*/ 29 w 1461"/>
                  <a:gd name="T19" fmla="*/ 416 h 416"/>
                  <a:gd name="T20" fmla="*/ 0 w 1461"/>
                  <a:gd name="T21" fmla="*/ 388 h 416"/>
                  <a:gd name="T22" fmla="*/ 0 w 1461"/>
                  <a:gd name="T23" fmla="*/ 28 h 416"/>
                  <a:gd name="T24" fmla="*/ 29 w 1461"/>
                  <a:gd name="T25" fmla="*/ 0 h 4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461" h="416">
                    <a:moveTo>
                      <a:pt x="29" y="0"/>
                    </a:moveTo>
                    <a:lnTo>
                      <a:pt x="1334" y="0"/>
                    </a:lnTo>
                    <a:lnTo>
                      <a:pt x="1334" y="50"/>
                    </a:lnTo>
                    <a:lnTo>
                      <a:pt x="1370" y="50"/>
                    </a:lnTo>
                    <a:lnTo>
                      <a:pt x="1461" y="50"/>
                    </a:lnTo>
                    <a:cubicBezTo>
                      <a:pt x="1417" y="50"/>
                      <a:pt x="1392" y="103"/>
                      <a:pt x="1383" y="172"/>
                    </a:cubicBezTo>
                    <a:cubicBezTo>
                      <a:pt x="1380" y="194"/>
                      <a:pt x="1379" y="218"/>
                      <a:pt x="1379" y="242"/>
                    </a:cubicBezTo>
                    <a:cubicBezTo>
                      <a:pt x="1379" y="265"/>
                      <a:pt x="1380" y="289"/>
                      <a:pt x="1383" y="311"/>
                    </a:cubicBezTo>
                    <a:cubicBezTo>
                      <a:pt x="1389" y="357"/>
                      <a:pt x="1402" y="395"/>
                      <a:pt x="1423" y="416"/>
                    </a:cubicBezTo>
                    <a:lnTo>
                      <a:pt x="29" y="416"/>
                    </a:lnTo>
                    <a:cubicBezTo>
                      <a:pt x="13" y="416"/>
                      <a:pt x="0" y="404"/>
                      <a:pt x="0" y="388"/>
                    </a:cubicBezTo>
                    <a:lnTo>
                      <a:pt x="0" y="28"/>
                    </a:lnTo>
                    <a:cubicBezTo>
                      <a:pt x="0" y="12"/>
                      <a:pt x="13" y="0"/>
                      <a:pt x="29" y="0"/>
                    </a:cubicBezTo>
                    <a:close/>
                  </a:path>
                </a:pathLst>
              </a:custGeom>
              <a:solidFill>
                <a:srgbClr val="3039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03" name="Freeform 167"/>
              <p:cNvSpPr>
                <a:spLocks/>
              </p:cNvSpPr>
              <p:nvPr/>
            </p:nvSpPr>
            <p:spPr bwMode="auto">
              <a:xfrm>
                <a:off x="874" y="1131"/>
                <a:ext cx="192" cy="80"/>
              </a:xfrm>
              <a:custGeom>
                <a:avLst/>
                <a:gdLst>
                  <a:gd name="T0" fmla="*/ 29 w 989"/>
                  <a:gd name="T1" fmla="*/ 0 h 416"/>
                  <a:gd name="T2" fmla="*/ 989 w 989"/>
                  <a:gd name="T3" fmla="*/ 0 h 416"/>
                  <a:gd name="T4" fmla="*/ 989 w 989"/>
                  <a:gd name="T5" fmla="*/ 416 h 416"/>
                  <a:gd name="T6" fmla="*/ 29 w 989"/>
                  <a:gd name="T7" fmla="*/ 416 h 416"/>
                  <a:gd name="T8" fmla="*/ 0 w 989"/>
                  <a:gd name="T9" fmla="*/ 388 h 416"/>
                  <a:gd name="T10" fmla="*/ 0 w 989"/>
                  <a:gd name="T11" fmla="*/ 28 h 416"/>
                  <a:gd name="T12" fmla="*/ 29 w 989"/>
                  <a:gd name="T13" fmla="*/ 0 h 4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89" h="416">
                    <a:moveTo>
                      <a:pt x="29" y="0"/>
                    </a:moveTo>
                    <a:lnTo>
                      <a:pt x="989" y="0"/>
                    </a:lnTo>
                    <a:lnTo>
                      <a:pt x="989" y="416"/>
                    </a:lnTo>
                    <a:lnTo>
                      <a:pt x="29" y="416"/>
                    </a:lnTo>
                    <a:cubicBezTo>
                      <a:pt x="13" y="416"/>
                      <a:pt x="0" y="404"/>
                      <a:pt x="0" y="388"/>
                    </a:cubicBezTo>
                    <a:lnTo>
                      <a:pt x="0" y="28"/>
                    </a:lnTo>
                    <a:cubicBezTo>
                      <a:pt x="0" y="12"/>
                      <a:pt x="13" y="0"/>
                      <a:pt x="29" y="0"/>
                    </a:cubicBezTo>
                    <a:close/>
                  </a:path>
                </a:pathLst>
              </a:custGeom>
              <a:solidFill>
                <a:srgbClr val="43505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04" name="Rectangle 168"/>
              <p:cNvSpPr>
                <a:spLocks noChangeArrowheads="1"/>
              </p:cNvSpPr>
              <p:nvPr/>
            </p:nvSpPr>
            <p:spPr bwMode="auto">
              <a:xfrm>
                <a:off x="912" y="1136"/>
                <a:ext cx="33" cy="71"/>
              </a:xfrm>
              <a:prstGeom prst="rect">
                <a:avLst/>
              </a:prstGeom>
              <a:solidFill>
                <a:srgbClr val="FFD0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05" name="Rectangle 169"/>
              <p:cNvSpPr>
                <a:spLocks noChangeArrowheads="1"/>
              </p:cNvSpPr>
              <p:nvPr/>
            </p:nvSpPr>
            <p:spPr bwMode="auto">
              <a:xfrm>
                <a:off x="900" y="1136"/>
                <a:ext cx="8" cy="71"/>
              </a:xfrm>
              <a:prstGeom prst="rect">
                <a:avLst/>
              </a:prstGeom>
              <a:solidFill>
                <a:srgbClr val="FFEA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06" name="Freeform 170"/>
              <p:cNvSpPr>
                <a:spLocks/>
              </p:cNvSpPr>
              <p:nvPr/>
            </p:nvSpPr>
            <p:spPr bwMode="auto">
              <a:xfrm>
                <a:off x="1066" y="1151"/>
                <a:ext cx="80" cy="40"/>
              </a:xfrm>
              <a:custGeom>
                <a:avLst/>
                <a:gdLst>
                  <a:gd name="T0" fmla="*/ 0 w 409"/>
                  <a:gd name="T1" fmla="*/ 0 h 202"/>
                  <a:gd name="T2" fmla="*/ 409 w 409"/>
                  <a:gd name="T3" fmla="*/ 0 h 202"/>
                  <a:gd name="T4" fmla="*/ 394 w 409"/>
                  <a:gd name="T5" fmla="*/ 65 h 202"/>
                  <a:gd name="T6" fmla="*/ 390 w 409"/>
                  <a:gd name="T7" fmla="*/ 135 h 202"/>
                  <a:gd name="T8" fmla="*/ 394 w 409"/>
                  <a:gd name="T9" fmla="*/ 202 h 202"/>
                  <a:gd name="T10" fmla="*/ 0 w 409"/>
                  <a:gd name="T11" fmla="*/ 202 h 202"/>
                  <a:gd name="T12" fmla="*/ 0 w 409"/>
                  <a:gd name="T13" fmla="*/ 0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9" h="202">
                    <a:moveTo>
                      <a:pt x="0" y="0"/>
                    </a:moveTo>
                    <a:lnTo>
                      <a:pt x="409" y="0"/>
                    </a:lnTo>
                    <a:cubicBezTo>
                      <a:pt x="402" y="19"/>
                      <a:pt x="397" y="41"/>
                      <a:pt x="394" y="65"/>
                    </a:cubicBezTo>
                    <a:cubicBezTo>
                      <a:pt x="391" y="87"/>
                      <a:pt x="390" y="111"/>
                      <a:pt x="390" y="135"/>
                    </a:cubicBezTo>
                    <a:cubicBezTo>
                      <a:pt x="390" y="157"/>
                      <a:pt x="391" y="180"/>
                      <a:pt x="394" y="202"/>
                    </a:cubicBezTo>
                    <a:lnTo>
                      <a:pt x="0" y="20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07" name="Rectangle 171"/>
              <p:cNvSpPr>
                <a:spLocks noChangeArrowheads="1"/>
              </p:cNvSpPr>
              <p:nvPr/>
            </p:nvSpPr>
            <p:spPr bwMode="auto">
              <a:xfrm>
                <a:off x="966" y="1151"/>
                <a:ext cx="100" cy="40"/>
              </a:xfrm>
              <a:prstGeom prst="rect">
                <a:avLst/>
              </a:pr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08" name="Rectangle 172"/>
              <p:cNvSpPr>
                <a:spLocks noChangeArrowheads="1"/>
              </p:cNvSpPr>
              <p:nvPr/>
            </p:nvSpPr>
            <p:spPr bwMode="auto">
              <a:xfrm>
                <a:off x="1082" y="942"/>
                <a:ext cx="72" cy="28"/>
              </a:xfrm>
              <a:prstGeom prst="rect">
                <a:avLst/>
              </a:pr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09" name="Rectangle 173"/>
              <p:cNvSpPr>
                <a:spLocks noChangeArrowheads="1"/>
              </p:cNvSpPr>
              <p:nvPr/>
            </p:nvSpPr>
            <p:spPr bwMode="auto">
              <a:xfrm>
                <a:off x="1010" y="942"/>
                <a:ext cx="72" cy="28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10" name="Rectangle 174"/>
              <p:cNvSpPr>
                <a:spLocks noChangeArrowheads="1"/>
              </p:cNvSpPr>
              <p:nvPr/>
            </p:nvSpPr>
            <p:spPr bwMode="auto">
              <a:xfrm>
                <a:off x="1062" y="1012"/>
                <a:ext cx="72" cy="28"/>
              </a:xfrm>
              <a:prstGeom prst="rect">
                <a:avLst/>
              </a:pr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11" name="Rectangle 175"/>
              <p:cNvSpPr>
                <a:spLocks noChangeArrowheads="1"/>
              </p:cNvSpPr>
              <p:nvPr/>
            </p:nvSpPr>
            <p:spPr bwMode="auto">
              <a:xfrm>
                <a:off x="990" y="1012"/>
                <a:ext cx="72" cy="28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12" name="Rectangle 176"/>
              <p:cNvSpPr>
                <a:spLocks noChangeArrowheads="1"/>
              </p:cNvSpPr>
              <p:nvPr/>
            </p:nvSpPr>
            <p:spPr bwMode="auto">
              <a:xfrm>
                <a:off x="1146" y="1152"/>
                <a:ext cx="181" cy="4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13" name="Rectangle 177"/>
              <p:cNvSpPr>
                <a:spLocks noChangeArrowheads="1"/>
              </p:cNvSpPr>
              <p:nvPr/>
            </p:nvSpPr>
            <p:spPr bwMode="auto">
              <a:xfrm>
                <a:off x="1146" y="1160"/>
                <a:ext cx="181" cy="4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14" name="Rectangle 178"/>
              <p:cNvSpPr>
                <a:spLocks noChangeArrowheads="1"/>
              </p:cNvSpPr>
              <p:nvPr/>
            </p:nvSpPr>
            <p:spPr bwMode="auto">
              <a:xfrm>
                <a:off x="1146" y="1168"/>
                <a:ext cx="181" cy="4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15" name="Rectangle 179"/>
              <p:cNvSpPr>
                <a:spLocks noChangeArrowheads="1"/>
              </p:cNvSpPr>
              <p:nvPr/>
            </p:nvSpPr>
            <p:spPr bwMode="auto">
              <a:xfrm>
                <a:off x="1146" y="1176"/>
                <a:ext cx="181" cy="4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16" name="Rectangle 180"/>
              <p:cNvSpPr>
                <a:spLocks noChangeArrowheads="1"/>
              </p:cNvSpPr>
              <p:nvPr/>
            </p:nvSpPr>
            <p:spPr bwMode="auto">
              <a:xfrm>
                <a:off x="1146" y="1184"/>
                <a:ext cx="181" cy="4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17" name="Rectangle 181"/>
              <p:cNvSpPr>
                <a:spLocks noChangeArrowheads="1"/>
              </p:cNvSpPr>
              <p:nvPr/>
            </p:nvSpPr>
            <p:spPr bwMode="auto">
              <a:xfrm>
                <a:off x="1146" y="1192"/>
                <a:ext cx="181" cy="4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18" name="Rectangle 182"/>
              <p:cNvSpPr>
                <a:spLocks noChangeArrowheads="1"/>
              </p:cNvSpPr>
              <p:nvPr/>
            </p:nvSpPr>
            <p:spPr bwMode="auto">
              <a:xfrm>
                <a:off x="1146" y="1156"/>
                <a:ext cx="181" cy="4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19" name="Rectangle 183"/>
              <p:cNvSpPr>
                <a:spLocks noChangeArrowheads="1"/>
              </p:cNvSpPr>
              <p:nvPr/>
            </p:nvSpPr>
            <p:spPr bwMode="auto">
              <a:xfrm>
                <a:off x="1146" y="1164"/>
                <a:ext cx="181" cy="4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20" name="Rectangle 184"/>
              <p:cNvSpPr>
                <a:spLocks noChangeArrowheads="1"/>
              </p:cNvSpPr>
              <p:nvPr/>
            </p:nvSpPr>
            <p:spPr bwMode="auto">
              <a:xfrm>
                <a:off x="1146" y="1172"/>
                <a:ext cx="181" cy="4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21" name="Rectangle 185"/>
              <p:cNvSpPr>
                <a:spLocks noChangeArrowheads="1"/>
              </p:cNvSpPr>
              <p:nvPr/>
            </p:nvSpPr>
            <p:spPr bwMode="auto">
              <a:xfrm>
                <a:off x="1146" y="1180"/>
                <a:ext cx="181" cy="4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22" name="Rectangle 186"/>
              <p:cNvSpPr>
                <a:spLocks noChangeArrowheads="1"/>
              </p:cNvSpPr>
              <p:nvPr/>
            </p:nvSpPr>
            <p:spPr bwMode="auto">
              <a:xfrm>
                <a:off x="1146" y="1188"/>
                <a:ext cx="181" cy="4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23" name="Rectangle 187"/>
              <p:cNvSpPr>
                <a:spLocks noChangeArrowheads="1"/>
              </p:cNvSpPr>
              <p:nvPr/>
            </p:nvSpPr>
            <p:spPr bwMode="auto">
              <a:xfrm>
                <a:off x="1146" y="1196"/>
                <a:ext cx="181" cy="4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24" name="Rectangle 188"/>
              <p:cNvSpPr>
                <a:spLocks noChangeArrowheads="1"/>
              </p:cNvSpPr>
              <p:nvPr/>
            </p:nvSpPr>
            <p:spPr bwMode="auto">
              <a:xfrm>
                <a:off x="1146" y="1200"/>
                <a:ext cx="181" cy="3"/>
              </a:xfrm>
              <a:prstGeom prst="rect">
                <a:avLst/>
              </a:prstGeom>
              <a:solidFill>
                <a:srgbClr val="79A7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25" name="Freeform 189"/>
              <p:cNvSpPr>
                <a:spLocks/>
              </p:cNvSpPr>
              <p:nvPr/>
            </p:nvSpPr>
            <p:spPr bwMode="auto">
              <a:xfrm>
                <a:off x="1327" y="1152"/>
                <a:ext cx="181" cy="4"/>
              </a:xfrm>
              <a:custGeom>
                <a:avLst/>
                <a:gdLst>
                  <a:gd name="T0" fmla="*/ 0 w 930"/>
                  <a:gd name="T1" fmla="*/ 0 h 21"/>
                  <a:gd name="T2" fmla="*/ 930 w 930"/>
                  <a:gd name="T3" fmla="*/ 0 h 21"/>
                  <a:gd name="T4" fmla="*/ 923 w 930"/>
                  <a:gd name="T5" fmla="*/ 21 h 21"/>
                  <a:gd name="T6" fmla="*/ 0 w 930"/>
                  <a:gd name="T7" fmla="*/ 21 h 21"/>
                  <a:gd name="T8" fmla="*/ 0 w 930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30" h="21">
                    <a:moveTo>
                      <a:pt x="0" y="0"/>
                    </a:moveTo>
                    <a:lnTo>
                      <a:pt x="930" y="0"/>
                    </a:lnTo>
                    <a:cubicBezTo>
                      <a:pt x="927" y="7"/>
                      <a:pt x="925" y="14"/>
                      <a:pt x="923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26" name="Freeform 190"/>
              <p:cNvSpPr>
                <a:spLocks/>
              </p:cNvSpPr>
              <p:nvPr/>
            </p:nvSpPr>
            <p:spPr bwMode="auto">
              <a:xfrm>
                <a:off x="1327" y="1160"/>
                <a:ext cx="178" cy="4"/>
              </a:xfrm>
              <a:custGeom>
                <a:avLst/>
                <a:gdLst>
                  <a:gd name="T0" fmla="*/ 0 w 919"/>
                  <a:gd name="T1" fmla="*/ 0 h 20"/>
                  <a:gd name="T2" fmla="*/ 919 w 919"/>
                  <a:gd name="T3" fmla="*/ 0 h 20"/>
                  <a:gd name="T4" fmla="*/ 916 w 919"/>
                  <a:gd name="T5" fmla="*/ 20 h 20"/>
                  <a:gd name="T6" fmla="*/ 916 w 919"/>
                  <a:gd name="T7" fmla="*/ 20 h 20"/>
                  <a:gd name="T8" fmla="*/ 0 w 919"/>
                  <a:gd name="T9" fmla="*/ 20 h 20"/>
                  <a:gd name="T10" fmla="*/ 0 w 919"/>
                  <a:gd name="T11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19" h="20">
                    <a:moveTo>
                      <a:pt x="0" y="0"/>
                    </a:moveTo>
                    <a:lnTo>
                      <a:pt x="919" y="0"/>
                    </a:lnTo>
                    <a:cubicBezTo>
                      <a:pt x="918" y="6"/>
                      <a:pt x="917" y="13"/>
                      <a:pt x="916" y="20"/>
                    </a:cubicBezTo>
                    <a:lnTo>
                      <a:pt x="916" y="20"/>
                    </a:lnTo>
                    <a:lnTo>
                      <a:pt x="0" y="2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27" name="Freeform 191"/>
              <p:cNvSpPr>
                <a:spLocks/>
              </p:cNvSpPr>
              <p:nvPr/>
            </p:nvSpPr>
            <p:spPr bwMode="auto">
              <a:xfrm>
                <a:off x="1327" y="1168"/>
                <a:ext cx="177" cy="4"/>
              </a:xfrm>
              <a:custGeom>
                <a:avLst/>
                <a:gdLst>
                  <a:gd name="T0" fmla="*/ 0 w 913"/>
                  <a:gd name="T1" fmla="*/ 0 h 21"/>
                  <a:gd name="T2" fmla="*/ 913 w 913"/>
                  <a:gd name="T3" fmla="*/ 0 h 21"/>
                  <a:gd name="T4" fmla="*/ 912 w 913"/>
                  <a:gd name="T5" fmla="*/ 21 h 21"/>
                  <a:gd name="T6" fmla="*/ 0 w 913"/>
                  <a:gd name="T7" fmla="*/ 21 h 21"/>
                  <a:gd name="T8" fmla="*/ 0 w 913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13" h="21">
                    <a:moveTo>
                      <a:pt x="0" y="0"/>
                    </a:moveTo>
                    <a:lnTo>
                      <a:pt x="913" y="0"/>
                    </a:lnTo>
                    <a:cubicBezTo>
                      <a:pt x="913" y="7"/>
                      <a:pt x="912" y="14"/>
                      <a:pt x="912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28" name="Freeform 192"/>
              <p:cNvSpPr>
                <a:spLocks/>
              </p:cNvSpPr>
              <p:nvPr/>
            </p:nvSpPr>
            <p:spPr bwMode="auto">
              <a:xfrm>
                <a:off x="1327" y="1176"/>
                <a:ext cx="177" cy="4"/>
              </a:xfrm>
              <a:custGeom>
                <a:avLst/>
                <a:gdLst>
                  <a:gd name="T0" fmla="*/ 0 w 911"/>
                  <a:gd name="T1" fmla="*/ 0 h 20"/>
                  <a:gd name="T2" fmla="*/ 911 w 911"/>
                  <a:gd name="T3" fmla="*/ 0 h 20"/>
                  <a:gd name="T4" fmla="*/ 911 w 911"/>
                  <a:gd name="T5" fmla="*/ 7 h 20"/>
                  <a:gd name="T6" fmla="*/ 911 w 911"/>
                  <a:gd name="T7" fmla="*/ 20 h 20"/>
                  <a:gd name="T8" fmla="*/ 0 w 911"/>
                  <a:gd name="T9" fmla="*/ 20 h 20"/>
                  <a:gd name="T10" fmla="*/ 0 w 911"/>
                  <a:gd name="T11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11" h="20">
                    <a:moveTo>
                      <a:pt x="0" y="0"/>
                    </a:moveTo>
                    <a:lnTo>
                      <a:pt x="911" y="0"/>
                    </a:lnTo>
                    <a:lnTo>
                      <a:pt x="911" y="7"/>
                    </a:lnTo>
                    <a:cubicBezTo>
                      <a:pt x="911" y="11"/>
                      <a:pt x="911" y="16"/>
                      <a:pt x="911" y="20"/>
                    </a:cubicBezTo>
                    <a:lnTo>
                      <a:pt x="0" y="2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29" name="Freeform 193"/>
              <p:cNvSpPr>
                <a:spLocks/>
              </p:cNvSpPr>
              <p:nvPr/>
            </p:nvSpPr>
            <p:spPr bwMode="auto">
              <a:xfrm>
                <a:off x="1327" y="1184"/>
                <a:ext cx="178" cy="4"/>
              </a:xfrm>
              <a:custGeom>
                <a:avLst/>
                <a:gdLst>
                  <a:gd name="T0" fmla="*/ 0 w 914"/>
                  <a:gd name="T1" fmla="*/ 0 h 21"/>
                  <a:gd name="T2" fmla="*/ 912 w 914"/>
                  <a:gd name="T3" fmla="*/ 0 h 21"/>
                  <a:gd name="T4" fmla="*/ 914 w 914"/>
                  <a:gd name="T5" fmla="*/ 21 h 21"/>
                  <a:gd name="T6" fmla="*/ 0 w 914"/>
                  <a:gd name="T7" fmla="*/ 21 h 21"/>
                  <a:gd name="T8" fmla="*/ 0 w 914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14" h="21">
                    <a:moveTo>
                      <a:pt x="0" y="0"/>
                    </a:moveTo>
                    <a:lnTo>
                      <a:pt x="912" y="0"/>
                    </a:lnTo>
                    <a:cubicBezTo>
                      <a:pt x="913" y="7"/>
                      <a:pt x="913" y="14"/>
                      <a:pt x="914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30" name="Freeform 194"/>
              <p:cNvSpPr>
                <a:spLocks/>
              </p:cNvSpPr>
              <p:nvPr/>
            </p:nvSpPr>
            <p:spPr bwMode="auto">
              <a:xfrm>
                <a:off x="1327" y="1192"/>
                <a:ext cx="179" cy="4"/>
              </a:xfrm>
              <a:custGeom>
                <a:avLst/>
                <a:gdLst>
                  <a:gd name="T0" fmla="*/ 0 w 920"/>
                  <a:gd name="T1" fmla="*/ 0 h 21"/>
                  <a:gd name="T2" fmla="*/ 916 w 920"/>
                  <a:gd name="T3" fmla="*/ 0 h 21"/>
                  <a:gd name="T4" fmla="*/ 920 w 920"/>
                  <a:gd name="T5" fmla="*/ 21 h 21"/>
                  <a:gd name="T6" fmla="*/ 0 w 920"/>
                  <a:gd name="T7" fmla="*/ 21 h 21"/>
                  <a:gd name="T8" fmla="*/ 0 w 920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20" h="21">
                    <a:moveTo>
                      <a:pt x="0" y="0"/>
                    </a:moveTo>
                    <a:lnTo>
                      <a:pt x="916" y="0"/>
                    </a:lnTo>
                    <a:cubicBezTo>
                      <a:pt x="918" y="7"/>
                      <a:pt x="919" y="14"/>
                      <a:pt x="920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31" name="Freeform 195"/>
              <p:cNvSpPr>
                <a:spLocks/>
              </p:cNvSpPr>
              <p:nvPr/>
            </p:nvSpPr>
            <p:spPr bwMode="auto">
              <a:xfrm>
                <a:off x="1327" y="1156"/>
                <a:ext cx="179" cy="4"/>
              </a:xfrm>
              <a:custGeom>
                <a:avLst/>
                <a:gdLst>
                  <a:gd name="T0" fmla="*/ 0 w 923"/>
                  <a:gd name="T1" fmla="*/ 0 h 21"/>
                  <a:gd name="T2" fmla="*/ 923 w 923"/>
                  <a:gd name="T3" fmla="*/ 0 h 21"/>
                  <a:gd name="T4" fmla="*/ 919 w 923"/>
                  <a:gd name="T5" fmla="*/ 21 h 21"/>
                  <a:gd name="T6" fmla="*/ 0 w 923"/>
                  <a:gd name="T7" fmla="*/ 21 h 21"/>
                  <a:gd name="T8" fmla="*/ 0 w 923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23" h="21">
                    <a:moveTo>
                      <a:pt x="0" y="0"/>
                    </a:moveTo>
                    <a:lnTo>
                      <a:pt x="923" y="0"/>
                    </a:lnTo>
                    <a:cubicBezTo>
                      <a:pt x="922" y="7"/>
                      <a:pt x="920" y="14"/>
                      <a:pt x="919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32" name="Freeform 196"/>
              <p:cNvSpPr>
                <a:spLocks/>
              </p:cNvSpPr>
              <p:nvPr/>
            </p:nvSpPr>
            <p:spPr bwMode="auto">
              <a:xfrm>
                <a:off x="1327" y="1164"/>
                <a:ext cx="178" cy="4"/>
              </a:xfrm>
              <a:custGeom>
                <a:avLst/>
                <a:gdLst>
                  <a:gd name="T0" fmla="*/ 0 w 916"/>
                  <a:gd name="T1" fmla="*/ 0 h 21"/>
                  <a:gd name="T2" fmla="*/ 916 w 916"/>
                  <a:gd name="T3" fmla="*/ 0 h 21"/>
                  <a:gd name="T4" fmla="*/ 913 w 916"/>
                  <a:gd name="T5" fmla="*/ 21 h 21"/>
                  <a:gd name="T6" fmla="*/ 0 w 916"/>
                  <a:gd name="T7" fmla="*/ 21 h 21"/>
                  <a:gd name="T8" fmla="*/ 0 w 916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16" h="21">
                    <a:moveTo>
                      <a:pt x="0" y="0"/>
                    </a:moveTo>
                    <a:lnTo>
                      <a:pt x="916" y="0"/>
                    </a:lnTo>
                    <a:cubicBezTo>
                      <a:pt x="915" y="7"/>
                      <a:pt x="914" y="14"/>
                      <a:pt x="913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33" name="Freeform 197"/>
              <p:cNvSpPr>
                <a:spLocks/>
              </p:cNvSpPr>
              <p:nvPr/>
            </p:nvSpPr>
            <p:spPr bwMode="auto">
              <a:xfrm>
                <a:off x="1327" y="1172"/>
                <a:ext cx="177" cy="4"/>
              </a:xfrm>
              <a:custGeom>
                <a:avLst/>
                <a:gdLst>
                  <a:gd name="T0" fmla="*/ 0 w 912"/>
                  <a:gd name="T1" fmla="*/ 0 h 21"/>
                  <a:gd name="T2" fmla="*/ 912 w 912"/>
                  <a:gd name="T3" fmla="*/ 0 h 21"/>
                  <a:gd name="T4" fmla="*/ 911 w 912"/>
                  <a:gd name="T5" fmla="*/ 21 h 21"/>
                  <a:gd name="T6" fmla="*/ 0 w 912"/>
                  <a:gd name="T7" fmla="*/ 21 h 21"/>
                  <a:gd name="T8" fmla="*/ 0 w 912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12" h="21">
                    <a:moveTo>
                      <a:pt x="0" y="0"/>
                    </a:moveTo>
                    <a:lnTo>
                      <a:pt x="912" y="0"/>
                    </a:lnTo>
                    <a:cubicBezTo>
                      <a:pt x="912" y="7"/>
                      <a:pt x="911" y="14"/>
                      <a:pt x="911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34" name="Freeform 198"/>
              <p:cNvSpPr>
                <a:spLocks/>
              </p:cNvSpPr>
              <p:nvPr/>
            </p:nvSpPr>
            <p:spPr bwMode="auto">
              <a:xfrm>
                <a:off x="1327" y="1180"/>
                <a:ext cx="177" cy="4"/>
              </a:xfrm>
              <a:custGeom>
                <a:avLst/>
                <a:gdLst>
                  <a:gd name="T0" fmla="*/ 0 w 912"/>
                  <a:gd name="T1" fmla="*/ 0 h 21"/>
                  <a:gd name="T2" fmla="*/ 911 w 912"/>
                  <a:gd name="T3" fmla="*/ 0 h 21"/>
                  <a:gd name="T4" fmla="*/ 912 w 912"/>
                  <a:gd name="T5" fmla="*/ 21 h 21"/>
                  <a:gd name="T6" fmla="*/ 0 w 912"/>
                  <a:gd name="T7" fmla="*/ 21 h 21"/>
                  <a:gd name="T8" fmla="*/ 0 w 912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12" h="21">
                    <a:moveTo>
                      <a:pt x="0" y="0"/>
                    </a:moveTo>
                    <a:lnTo>
                      <a:pt x="911" y="0"/>
                    </a:lnTo>
                    <a:cubicBezTo>
                      <a:pt x="912" y="7"/>
                      <a:pt x="912" y="14"/>
                      <a:pt x="912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35" name="Freeform 199"/>
              <p:cNvSpPr>
                <a:spLocks/>
              </p:cNvSpPr>
              <p:nvPr/>
            </p:nvSpPr>
            <p:spPr bwMode="auto">
              <a:xfrm>
                <a:off x="1327" y="1188"/>
                <a:ext cx="178" cy="4"/>
              </a:xfrm>
              <a:custGeom>
                <a:avLst/>
                <a:gdLst>
                  <a:gd name="T0" fmla="*/ 0 w 916"/>
                  <a:gd name="T1" fmla="*/ 0 h 20"/>
                  <a:gd name="T2" fmla="*/ 914 w 916"/>
                  <a:gd name="T3" fmla="*/ 0 h 20"/>
                  <a:gd name="T4" fmla="*/ 916 w 916"/>
                  <a:gd name="T5" fmla="*/ 14 h 20"/>
                  <a:gd name="T6" fmla="*/ 916 w 916"/>
                  <a:gd name="T7" fmla="*/ 20 h 20"/>
                  <a:gd name="T8" fmla="*/ 0 w 916"/>
                  <a:gd name="T9" fmla="*/ 20 h 20"/>
                  <a:gd name="T10" fmla="*/ 0 w 916"/>
                  <a:gd name="T11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16" h="20">
                    <a:moveTo>
                      <a:pt x="0" y="0"/>
                    </a:moveTo>
                    <a:lnTo>
                      <a:pt x="914" y="0"/>
                    </a:lnTo>
                    <a:cubicBezTo>
                      <a:pt x="915" y="5"/>
                      <a:pt x="915" y="9"/>
                      <a:pt x="916" y="14"/>
                    </a:cubicBezTo>
                    <a:lnTo>
                      <a:pt x="916" y="20"/>
                    </a:lnTo>
                    <a:lnTo>
                      <a:pt x="0" y="2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36" name="Freeform 200"/>
              <p:cNvSpPr>
                <a:spLocks/>
              </p:cNvSpPr>
              <p:nvPr/>
            </p:nvSpPr>
            <p:spPr bwMode="auto">
              <a:xfrm>
                <a:off x="1327" y="1196"/>
                <a:ext cx="180" cy="4"/>
              </a:xfrm>
              <a:custGeom>
                <a:avLst/>
                <a:gdLst>
                  <a:gd name="T0" fmla="*/ 0 w 925"/>
                  <a:gd name="T1" fmla="*/ 0 h 21"/>
                  <a:gd name="T2" fmla="*/ 920 w 925"/>
                  <a:gd name="T3" fmla="*/ 0 h 21"/>
                  <a:gd name="T4" fmla="*/ 925 w 925"/>
                  <a:gd name="T5" fmla="*/ 21 h 21"/>
                  <a:gd name="T6" fmla="*/ 0 w 925"/>
                  <a:gd name="T7" fmla="*/ 21 h 21"/>
                  <a:gd name="T8" fmla="*/ 0 w 925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25" h="21">
                    <a:moveTo>
                      <a:pt x="0" y="0"/>
                    </a:moveTo>
                    <a:lnTo>
                      <a:pt x="920" y="0"/>
                    </a:lnTo>
                    <a:cubicBezTo>
                      <a:pt x="922" y="7"/>
                      <a:pt x="923" y="14"/>
                      <a:pt x="925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37" name="Freeform 201"/>
              <p:cNvSpPr>
                <a:spLocks/>
              </p:cNvSpPr>
              <p:nvPr/>
            </p:nvSpPr>
            <p:spPr bwMode="auto">
              <a:xfrm>
                <a:off x="1327" y="1200"/>
                <a:ext cx="181" cy="3"/>
              </a:xfrm>
              <a:custGeom>
                <a:avLst/>
                <a:gdLst>
                  <a:gd name="T0" fmla="*/ 0 w 930"/>
                  <a:gd name="T1" fmla="*/ 0 h 14"/>
                  <a:gd name="T2" fmla="*/ 925 w 930"/>
                  <a:gd name="T3" fmla="*/ 0 h 14"/>
                  <a:gd name="T4" fmla="*/ 930 w 930"/>
                  <a:gd name="T5" fmla="*/ 14 h 14"/>
                  <a:gd name="T6" fmla="*/ 0 w 930"/>
                  <a:gd name="T7" fmla="*/ 14 h 14"/>
                  <a:gd name="T8" fmla="*/ 0 w 930"/>
                  <a:gd name="T9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30" h="14">
                    <a:moveTo>
                      <a:pt x="0" y="0"/>
                    </a:moveTo>
                    <a:lnTo>
                      <a:pt x="925" y="0"/>
                    </a:lnTo>
                    <a:cubicBezTo>
                      <a:pt x="927" y="4"/>
                      <a:pt x="928" y="9"/>
                      <a:pt x="930" y="14"/>
                    </a:cubicBezTo>
                    <a:lnTo>
                      <a:pt x="0" y="1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F9AA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38" name="Freeform 202"/>
              <p:cNvSpPr>
                <a:spLocks/>
              </p:cNvSpPr>
              <p:nvPr/>
            </p:nvSpPr>
            <p:spPr bwMode="auto">
              <a:xfrm>
                <a:off x="1142" y="1140"/>
                <a:ext cx="370" cy="75"/>
              </a:xfrm>
              <a:custGeom>
                <a:avLst/>
                <a:gdLst>
                  <a:gd name="T0" fmla="*/ 1910 w 1910"/>
                  <a:gd name="T1" fmla="*/ 383 h 383"/>
                  <a:gd name="T2" fmla="*/ 82 w 1910"/>
                  <a:gd name="T3" fmla="*/ 383 h 383"/>
                  <a:gd name="T4" fmla="*/ 4 w 1910"/>
                  <a:gd name="T5" fmla="*/ 261 h 383"/>
                  <a:gd name="T6" fmla="*/ 0 w 1910"/>
                  <a:gd name="T7" fmla="*/ 192 h 383"/>
                  <a:gd name="T8" fmla="*/ 4 w 1910"/>
                  <a:gd name="T9" fmla="*/ 122 h 383"/>
                  <a:gd name="T10" fmla="*/ 82 w 1910"/>
                  <a:gd name="T11" fmla="*/ 0 h 383"/>
                  <a:gd name="T12" fmla="*/ 1910 w 1910"/>
                  <a:gd name="T13" fmla="*/ 0 h 383"/>
                  <a:gd name="T14" fmla="*/ 1910 w 1910"/>
                  <a:gd name="T15" fmla="*/ 60 h 383"/>
                  <a:gd name="T16" fmla="*/ 82 w 1910"/>
                  <a:gd name="T17" fmla="*/ 60 h 383"/>
                  <a:gd name="T18" fmla="*/ 64 w 1910"/>
                  <a:gd name="T19" fmla="*/ 129 h 383"/>
                  <a:gd name="T20" fmla="*/ 61 w 1910"/>
                  <a:gd name="T21" fmla="*/ 192 h 383"/>
                  <a:gd name="T22" fmla="*/ 64 w 1910"/>
                  <a:gd name="T23" fmla="*/ 254 h 383"/>
                  <a:gd name="T24" fmla="*/ 82 w 1910"/>
                  <a:gd name="T25" fmla="*/ 323 h 383"/>
                  <a:gd name="T26" fmla="*/ 1910 w 1910"/>
                  <a:gd name="T27" fmla="*/ 323 h 383"/>
                  <a:gd name="T28" fmla="*/ 1910 w 1910"/>
                  <a:gd name="T29" fmla="*/ 383 h 3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910" h="383">
                    <a:moveTo>
                      <a:pt x="1910" y="383"/>
                    </a:moveTo>
                    <a:lnTo>
                      <a:pt x="82" y="383"/>
                    </a:lnTo>
                    <a:cubicBezTo>
                      <a:pt x="38" y="383"/>
                      <a:pt x="13" y="330"/>
                      <a:pt x="4" y="261"/>
                    </a:cubicBezTo>
                    <a:cubicBezTo>
                      <a:pt x="1" y="239"/>
                      <a:pt x="0" y="215"/>
                      <a:pt x="0" y="192"/>
                    </a:cubicBezTo>
                    <a:cubicBezTo>
                      <a:pt x="0" y="168"/>
                      <a:pt x="1" y="144"/>
                      <a:pt x="4" y="122"/>
                    </a:cubicBezTo>
                    <a:cubicBezTo>
                      <a:pt x="13" y="53"/>
                      <a:pt x="38" y="0"/>
                      <a:pt x="82" y="0"/>
                    </a:cubicBezTo>
                    <a:lnTo>
                      <a:pt x="1910" y="0"/>
                    </a:lnTo>
                    <a:lnTo>
                      <a:pt x="1910" y="60"/>
                    </a:lnTo>
                    <a:lnTo>
                      <a:pt x="82" y="60"/>
                    </a:lnTo>
                    <a:cubicBezTo>
                      <a:pt x="76" y="60"/>
                      <a:pt x="69" y="91"/>
                      <a:pt x="64" y="129"/>
                    </a:cubicBezTo>
                    <a:cubicBezTo>
                      <a:pt x="62" y="148"/>
                      <a:pt x="61" y="170"/>
                      <a:pt x="61" y="192"/>
                    </a:cubicBezTo>
                    <a:cubicBezTo>
                      <a:pt x="61" y="213"/>
                      <a:pt x="62" y="235"/>
                      <a:pt x="64" y="254"/>
                    </a:cubicBezTo>
                    <a:cubicBezTo>
                      <a:pt x="69" y="292"/>
                      <a:pt x="76" y="323"/>
                      <a:pt x="82" y="323"/>
                    </a:cubicBezTo>
                    <a:lnTo>
                      <a:pt x="1910" y="323"/>
                    </a:lnTo>
                    <a:lnTo>
                      <a:pt x="1910" y="383"/>
                    </a:lnTo>
                    <a:close/>
                  </a:path>
                </a:pathLst>
              </a:custGeom>
              <a:solidFill>
                <a:srgbClr val="27D3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39" name="Freeform 203"/>
              <p:cNvSpPr>
                <a:spLocks noEditPoints="1"/>
              </p:cNvSpPr>
              <p:nvPr/>
            </p:nvSpPr>
            <p:spPr bwMode="auto">
              <a:xfrm>
                <a:off x="1327" y="1140"/>
                <a:ext cx="185" cy="75"/>
              </a:xfrm>
              <a:custGeom>
                <a:avLst/>
                <a:gdLst>
                  <a:gd name="T0" fmla="*/ 955 w 955"/>
                  <a:gd name="T1" fmla="*/ 383 h 383"/>
                  <a:gd name="T2" fmla="*/ 0 w 955"/>
                  <a:gd name="T3" fmla="*/ 383 h 383"/>
                  <a:gd name="T4" fmla="*/ 0 w 955"/>
                  <a:gd name="T5" fmla="*/ 323 h 383"/>
                  <a:gd name="T6" fmla="*/ 955 w 955"/>
                  <a:gd name="T7" fmla="*/ 323 h 383"/>
                  <a:gd name="T8" fmla="*/ 955 w 955"/>
                  <a:gd name="T9" fmla="*/ 383 h 383"/>
                  <a:gd name="T10" fmla="*/ 0 w 955"/>
                  <a:gd name="T11" fmla="*/ 0 h 383"/>
                  <a:gd name="T12" fmla="*/ 955 w 955"/>
                  <a:gd name="T13" fmla="*/ 0 h 383"/>
                  <a:gd name="T14" fmla="*/ 955 w 955"/>
                  <a:gd name="T15" fmla="*/ 60 h 383"/>
                  <a:gd name="T16" fmla="*/ 0 w 955"/>
                  <a:gd name="T17" fmla="*/ 60 h 383"/>
                  <a:gd name="T18" fmla="*/ 0 w 955"/>
                  <a:gd name="T19" fmla="*/ 0 h 3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55" h="383">
                    <a:moveTo>
                      <a:pt x="955" y="383"/>
                    </a:moveTo>
                    <a:lnTo>
                      <a:pt x="0" y="383"/>
                    </a:lnTo>
                    <a:lnTo>
                      <a:pt x="0" y="323"/>
                    </a:lnTo>
                    <a:lnTo>
                      <a:pt x="955" y="323"/>
                    </a:lnTo>
                    <a:lnTo>
                      <a:pt x="955" y="383"/>
                    </a:lnTo>
                    <a:close/>
                    <a:moveTo>
                      <a:pt x="0" y="0"/>
                    </a:moveTo>
                    <a:lnTo>
                      <a:pt x="955" y="0"/>
                    </a:lnTo>
                    <a:lnTo>
                      <a:pt x="955" y="60"/>
                    </a:lnTo>
                    <a:lnTo>
                      <a:pt x="0" y="6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ADB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40" name="Rectangle 204"/>
              <p:cNvSpPr>
                <a:spLocks noChangeArrowheads="1"/>
              </p:cNvSpPr>
              <p:nvPr/>
            </p:nvSpPr>
            <p:spPr bwMode="auto">
              <a:xfrm>
                <a:off x="1331" y="1120"/>
                <a:ext cx="134" cy="8"/>
              </a:xfrm>
              <a:prstGeom prst="rect">
                <a:avLst/>
              </a:prstGeom>
              <a:solidFill>
                <a:srgbClr val="AAC7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41" name="Rectangle 205"/>
              <p:cNvSpPr>
                <a:spLocks noChangeArrowheads="1"/>
              </p:cNvSpPr>
              <p:nvPr/>
            </p:nvSpPr>
            <p:spPr bwMode="auto">
              <a:xfrm>
                <a:off x="1323" y="1128"/>
                <a:ext cx="150" cy="8"/>
              </a:xfrm>
              <a:prstGeom prst="rect">
                <a:avLst/>
              </a:prstGeom>
              <a:solidFill>
                <a:srgbClr val="79A7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42" name="Rectangle 206"/>
              <p:cNvSpPr>
                <a:spLocks noChangeArrowheads="1"/>
              </p:cNvSpPr>
              <p:nvPr/>
            </p:nvSpPr>
            <p:spPr bwMode="auto">
              <a:xfrm>
                <a:off x="1387" y="1131"/>
                <a:ext cx="253" cy="10"/>
              </a:xfrm>
              <a:prstGeom prst="rect">
                <a:avLst/>
              </a:prstGeom>
              <a:solidFill>
                <a:srgbClr val="EF75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43" name="Rectangle 207"/>
              <p:cNvSpPr>
                <a:spLocks noChangeArrowheads="1"/>
              </p:cNvSpPr>
              <p:nvPr/>
            </p:nvSpPr>
            <p:spPr bwMode="auto">
              <a:xfrm>
                <a:off x="1140" y="1087"/>
                <a:ext cx="202" cy="3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</p:grpSp>
        <p:sp>
          <p:nvSpPr>
            <p:cNvPr id="7" name="Rectangle 209"/>
            <p:cNvSpPr>
              <a:spLocks noChangeArrowheads="1"/>
            </p:cNvSpPr>
            <p:nvPr/>
          </p:nvSpPr>
          <p:spPr bwMode="auto">
            <a:xfrm>
              <a:off x="1809750" y="1736725"/>
              <a:ext cx="320675" cy="4762"/>
            </a:xfrm>
            <a:prstGeom prst="rect">
              <a:avLst/>
            </a:prstGeom>
            <a:solidFill>
              <a:srgbClr val="E7F1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" name="Rectangle 210"/>
            <p:cNvSpPr>
              <a:spLocks noChangeArrowheads="1"/>
            </p:cNvSpPr>
            <p:nvPr/>
          </p:nvSpPr>
          <p:spPr bwMode="auto">
            <a:xfrm>
              <a:off x="1809750" y="1747838"/>
              <a:ext cx="320675" cy="4762"/>
            </a:xfrm>
            <a:prstGeom prst="rect">
              <a:avLst/>
            </a:prstGeom>
            <a:solidFill>
              <a:srgbClr val="E7F1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" name="Rectangle 211"/>
            <p:cNvSpPr>
              <a:spLocks noChangeArrowheads="1"/>
            </p:cNvSpPr>
            <p:nvPr/>
          </p:nvSpPr>
          <p:spPr bwMode="auto">
            <a:xfrm>
              <a:off x="1809750" y="1758950"/>
              <a:ext cx="320675" cy="4762"/>
            </a:xfrm>
            <a:prstGeom prst="rect">
              <a:avLst/>
            </a:prstGeom>
            <a:solidFill>
              <a:srgbClr val="E7F1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" name="Rectangle 212"/>
            <p:cNvSpPr>
              <a:spLocks noChangeArrowheads="1"/>
            </p:cNvSpPr>
            <p:nvPr/>
          </p:nvSpPr>
          <p:spPr bwMode="auto">
            <a:xfrm>
              <a:off x="1809750" y="1770063"/>
              <a:ext cx="320675" cy="4762"/>
            </a:xfrm>
            <a:prstGeom prst="rect">
              <a:avLst/>
            </a:prstGeom>
            <a:solidFill>
              <a:srgbClr val="E7F1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" name="Rectangle 213"/>
            <p:cNvSpPr>
              <a:spLocks noChangeArrowheads="1"/>
            </p:cNvSpPr>
            <p:nvPr/>
          </p:nvSpPr>
          <p:spPr bwMode="auto">
            <a:xfrm>
              <a:off x="1809750" y="1781175"/>
              <a:ext cx="320675" cy="4762"/>
            </a:xfrm>
            <a:prstGeom prst="rect">
              <a:avLst/>
            </a:prstGeom>
            <a:solidFill>
              <a:srgbClr val="E7F1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" name="Rectangle 214"/>
            <p:cNvSpPr>
              <a:spLocks noChangeArrowheads="1"/>
            </p:cNvSpPr>
            <p:nvPr/>
          </p:nvSpPr>
          <p:spPr bwMode="auto">
            <a:xfrm>
              <a:off x="1809750" y="1730375"/>
              <a:ext cx="320675" cy="6350"/>
            </a:xfrm>
            <a:prstGeom prst="rect">
              <a:avLst/>
            </a:prstGeom>
            <a:solidFill>
              <a:srgbClr val="AECB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3" name="Rectangle 215"/>
            <p:cNvSpPr>
              <a:spLocks noChangeArrowheads="1"/>
            </p:cNvSpPr>
            <p:nvPr/>
          </p:nvSpPr>
          <p:spPr bwMode="auto">
            <a:xfrm>
              <a:off x="1809750" y="1741488"/>
              <a:ext cx="320675" cy="6350"/>
            </a:xfrm>
            <a:prstGeom prst="rect">
              <a:avLst/>
            </a:prstGeom>
            <a:solidFill>
              <a:srgbClr val="AECB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4" name="Rectangle 216"/>
            <p:cNvSpPr>
              <a:spLocks noChangeArrowheads="1"/>
            </p:cNvSpPr>
            <p:nvPr/>
          </p:nvSpPr>
          <p:spPr bwMode="auto">
            <a:xfrm>
              <a:off x="1809750" y="1752600"/>
              <a:ext cx="320675" cy="6350"/>
            </a:xfrm>
            <a:prstGeom prst="rect">
              <a:avLst/>
            </a:prstGeom>
            <a:solidFill>
              <a:srgbClr val="AECB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5" name="Rectangle 217"/>
            <p:cNvSpPr>
              <a:spLocks noChangeArrowheads="1"/>
            </p:cNvSpPr>
            <p:nvPr/>
          </p:nvSpPr>
          <p:spPr bwMode="auto">
            <a:xfrm>
              <a:off x="1809750" y="1763713"/>
              <a:ext cx="320675" cy="6350"/>
            </a:xfrm>
            <a:prstGeom prst="rect">
              <a:avLst/>
            </a:prstGeom>
            <a:solidFill>
              <a:srgbClr val="AECB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6" name="Rectangle 218"/>
            <p:cNvSpPr>
              <a:spLocks noChangeArrowheads="1"/>
            </p:cNvSpPr>
            <p:nvPr/>
          </p:nvSpPr>
          <p:spPr bwMode="auto">
            <a:xfrm>
              <a:off x="1809750" y="1774825"/>
              <a:ext cx="320675" cy="6350"/>
            </a:xfrm>
            <a:prstGeom prst="rect">
              <a:avLst/>
            </a:prstGeom>
            <a:solidFill>
              <a:srgbClr val="AECB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7" name="Rectangle 219"/>
            <p:cNvSpPr>
              <a:spLocks noChangeArrowheads="1"/>
            </p:cNvSpPr>
            <p:nvPr/>
          </p:nvSpPr>
          <p:spPr bwMode="auto">
            <a:xfrm>
              <a:off x="1809750" y="1785938"/>
              <a:ext cx="320675" cy="6350"/>
            </a:xfrm>
            <a:prstGeom prst="rect">
              <a:avLst/>
            </a:prstGeom>
            <a:solidFill>
              <a:srgbClr val="AECB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8" name="Rectangle 220"/>
            <p:cNvSpPr>
              <a:spLocks noChangeArrowheads="1"/>
            </p:cNvSpPr>
            <p:nvPr/>
          </p:nvSpPr>
          <p:spPr bwMode="auto">
            <a:xfrm>
              <a:off x="1809750" y="1792288"/>
              <a:ext cx="320675" cy="3175"/>
            </a:xfrm>
            <a:prstGeom prst="rect">
              <a:avLst/>
            </a:prstGeom>
            <a:solidFill>
              <a:srgbClr val="79A7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9" name="Freeform 221"/>
            <p:cNvSpPr>
              <a:spLocks/>
            </p:cNvSpPr>
            <p:nvPr/>
          </p:nvSpPr>
          <p:spPr bwMode="auto">
            <a:xfrm>
              <a:off x="2130425" y="1725613"/>
              <a:ext cx="71438" cy="69850"/>
            </a:xfrm>
            <a:custGeom>
              <a:avLst/>
              <a:gdLst>
                <a:gd name="T0" fmla="*/ 0 w 229"/>
                <a:gd name="T1" fmla="*/ 0 h 228"/>
                <a:gd name="T2" fmla="*/ 162 w 229"/>
                <a:gd name="T3" fmla="*/ 67 h 228"/>
                <a:gd name="T4" fmla="*/ 162 w 229"/>
                <a:gd name="T5" fmla="*/ 67 h 228"/>
                <a:gd name="T6" fmla="*/ 229 w 229"/>
                <a:gd name="T7" fmla="*/ 228 h 228"/>
                <a:gd name="T8" fmla="*/ 167 w 229"/>
                <a:gd name="T9" fmla="*/ 228 h 228"/>
                <a:gd name="T10" fmla="*/ 118 w 229"/>
                <a:gd name="T11" fmla="*/ 110 h 228"/>
                <a:gd name="T12" fmla="*/ 118 w 229"/>
                <a:gd name="T13" fmla="*/ 110 h 228"/>
                <a:gd name="T14" fmla="*/ 0 w 229"/>
                <a:gd name="T15" fmla="*/ 61 h 228"/>
                <a:gd name="T16" fmla="*/ 0 w 229"/>
                <a:gd name="T17" fmla="*/ 61 h 228"/>
                <a:gd name="T18" fmla="*/ 0 w 229"/>
                <a:gd name="T19" fmla="*/ 0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9" h="228">
                  <a:moveTo>
                    <a:pt x="0" y="0"/>
                  </a:moveTo>
                  <a:cubicBezTo>
                    <a:pt x="63" y="0"/>
                    <a:pt x="120" y="25"/>
                    <a:pt x="162" y="67"/>
                  </a:cubicBezTo>
                  <a:lnTo>
                    <a:pt x="162" y="67"/>
                  </a:lnTo>
                  <a:cubicBezTo>
                    <a:pt x="203" y="108"/>
                    <a:pt x="229" y="165"/>
                    <a:pt x="229" y="228"/>
                  </a:cubicBezTo>
                  <a:lnTo>
                    <a:pt x="167" y="228"/>
                  </a:lnTo>
                  <a:cubicBezTo>
                    <a:pt x="167" y="182"/>
                    <a:pt x="148" y="140"/>
                    <a:pt x="118" y="110"/>
                  </a:cubicBezTo>
                  <a:lnTo>
                    <a:pt x="118" y="110"/>
                  </a:lnTo>
                  <a:cubicBezTo>
                    <a:pt x="88" y="80"/>
                    <a:pt x="46" y="61"/>
                    <a:pt x="0" y="61"/>
                  </a:cubicBezTo>
                  <a:lnTo>
                    <a:pt x="0" y="6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7F1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0" name="Freeform 222"/>
            <p:cNvSpPr>
              <a:spLocks/>
            </p:cNvSpPr>
            <p:nvPr/>
          </p:nvSpPr>
          <p:spPr bwMode="auto">
            <a:xfrm>
              <a:off x="2130425" y="1730375"/>
              <a:ext cx="65088" cy="65087"/>
            </a:xfrm>
            <a:custGeom>
              <a:avLst/>
              <a:gdLst>
                <a:gd name="T0" fmla="*/ 0 w 211"/>
                <a:gd name="T1" fmla="*/ 0 h 210"/>
                <a:gd name="T2" fmla="*/ 149 w 211"/>
                <a:gd name="T3" fmla="*/ 61 h 210"/>
                <a:gd name="T4" fmla="*/ 149 w 211"/>
                <a:gd name="T5" fmla="*/ 62 h 210"/>
                <a:gd name="T6" fmla="*/ 211 w 211"/>
                <a:gd name="T7" fmla="*/ 210 h 210"/>
                <a:gd name="T8" fmla="*/ 154 w 211"/>
                <a:gd name="T9" fmla="*/ 210 h 210"/>
                <a:gd name="T10" fmla="*/ 109 w 211"/>
                <a:gd name="T11" fmla="*/ 102 h 210"/>
                <a:gd name="T12" fmla="*/ 109 w 211"/>
                <a:gd name="T13" fmla="*/ 102 h 210"/>
                <a:gd name="T14" fmla="*/ 0 w 211"/>
                <a:gd name="T15" fmla="*/ 56 h 210"/>
                <a:gd name="T16" fmla="*/ 0 w 211"/>
                <a:gd name="T17" fmla="*/ 56 h 210"/>
                <a:gd name="T18" fmla="*/ 0 w 211"/>
                <a:gd name="T19" fmla="*/ 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1" h="210">
                  <a:moveTo>
                    <a:pt x="0" y="0"/>
                  </a:moveTo>
                  <a:cubicBezTo>
                    <a:pt x="58" y="0"/>
                    <a:pt x="111" y="23"/>
                    <a:pt x="149" y="61"/>
                  </a:cubicBezTo>
                  <a:lnTo>
                    <a:pt x="149" y="62"/>
                  </a:lnTo>
                  <a:cubicBezTo>
                    <a:pt x="187" y="100"/>
                    <a:pt x="211" y="152"/>
                    <a:pt x="211" y="210"/>
                  </a:cubicBezTo>
                  <a:lnTo>
                    <a:pt x="154" y="210"/>
                  </a:lnTo>
                  <a:cubicBezTo>
                    <a:pt x="154" y="168"/>
                    <a:pt x="137" y="129"/>
                    <a:pt x="109" y="102"/>
                  </a:cubicBezTo>
                  <a:lnTo>
                    <a:pt x="109" y="102"/>
                  </a:lnTo>
                  <a:cubicBezTo>
                    <a:pt x="81" y="74"/>
                    <a:pt x="42" y="56"/>
                    <a:pt x="0" y="56"/>
                  </a:cubicBezTo>
                  <a:lnTo>
                    <a:pt x="0" y="5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ECB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2" name="Freeform 223"/>
            <p:cNvSpPr>
              <a:spLocks/>
            </p:cNvSpPr>
            <p:nvPr/>
          </p:nvSpPr>
          <p:spPr bwMode="auto">
            <a:xfrm>
              <a:off x="2130425" y="1736725"/>
              <a:ext cx="60325" cy="58737"/>
            </a:xfrm>
            <a:custGeom>
              <a:avLst/>
              <a:gdLst>
                <a:gd name="T0" fmla="*/ 0 w 193"/>
                <a:gd name="T1" fmla="*/ 0 h 192"/>
                <a:gd name="T2" fmla="*/ 136 w 193"/>
                <a:gd name="T3" fmla="*/ 56 h 192"/>
                <a:gd name="T4" fmla="*/ 136 w 193"/>
                <a:gd name="T5" fmla="*/ 56 h 192"/>
                <a:gd name="T6" fmla="*/ 193 w 193"/>
                <a:gd name="T7" fmla="*/ 192 h 192"/>
                <a:gd name="T8" fmla="*/ 141 w 193"/>
                <a:gd name="T9" fmla="*/ 192 h 192"/>
                <a:gd name="T10" fmla="*/ 99 w 193"/>
                <a:gd name="T11" fmla="*/ 93 h 192"/>
                <a:gd name="T12" fmla="*/ 99 w 193"/>
                <a:gd name="T13" fmla="*/ 93 h 192"/>
                <a:gd name="T14" fmla="*/ 0 w 193"/>
                <a:gd name="T15" fmla="*/ 52 h 192"/>
                <a:gd name="T16" fmla="*/ 0 w 193"/>
                <a:gd name="T17" fmla="*/ 52 h 192"/>
                <a:gd name="T18" fmla="*/ 0 w 193"/>
                <a:gd name="T19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3" h="192">
                  <a:moveTo>
                    <a:pt x="0" y="0"/>
                  </a:moveTo>
                  <a:cubicBezTo>
                    <a:pt x="53" y="0"/>
                    <a:pt x="101" y="21"/>
                    <a:pt x="136" y="56"/>
                  </a:cubicBezTo>
                  <a:lnTo>
                    <a:pt x="136" y="56"/>
                  </a:lnTo>
                  <a:cubicBezTo>
                    <a:pt x="171" y="91"/>
                    <a:pt x="193" y="139"/>
                    <a:pt x="193" y="192"/>
                  </a:cubicBezTo>
                  <a:lnTo>
                    <a:pt x="141" y="192"/>
                  </a:lnTo>
                  <a:cubicBezTo>
                    <a:pt x="141" y="153"/>
                    <a:pt x="125" y="118"/>
                    <a:pt x="99" y="93"/>
                  </a:cubicBezTo>
                  <a:lnTo>
                    <a:pt x="99" y="93"/>
                  </a:lnTo>
                  <a:cubicBezTo>
                    <a:pt x="74" y="67"/>
                    <a:pt x="39" y="52"/>
                    <a:pt x="0" y="52"/>
                  </a:cubicBezTo>
                  <a:lnTo>
                    <a:pt x="0" y="5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7F1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65" name="Freeform 224"/>
            <p:cNvSpPr>
              <a:spLocks/>
            </p:cNvSpPr>
            <p:nvPr/>
          </p:nvSpPr>
          <p:spPr bwMode="auto">
            <a:xfrm>
              <a:off x="2130425" y="1741488"/>
              <a:ext cx="53975" cy="53975"/>
            </a:xfrm>
            <a:custGeom>
              <a:avLst/>
              <a:gdLst>
                <a:gd name="T0" fmla="*/ 0 w 174"/>
                <a:gd name="T1" fmla="*/ 0 h 174"/>
                <a:gd name="T2" fmla="*/ 123 w 174"/>
                <a:gd name="T3" fmla="*/ 51 h 174"/>
                <a:gd name="T4" fmla="*/ 123 w 174"/>
                <a:gd name="T5" fmla="*/ 51 h 174"/>
                <a:gd name="T6" fmla="*/ 174 w 174"/>
                <a:gd name="T7" fmla="*/ 174 h 174"/>
                <a:gd name="T8" fmla="*/ 127 w 174"/>
                <a:gd name="T9" fmla="*/ 174 h 174"/>
                <a:gd name="T10" fmla="*/ 90 w 174"/>
                <a:gd name="T11" fmla="*/ 84 h 174"/>
                <a:gd name="T12" fmla="*/ 90 w 174"/>
                <a:gd name="T13" fmla="*/ 84 h 174"/>
                <a:gd name="T14" fmla="*/ 0 w 174"/>
                <a:gd name="T15" fmla="*/ 47 h 174"/>
                <a:gd name="T16" fmla="*/ 0 w 174"/>
                <a:gd name="T17" fmla="*/ 47 h 174"/>
                <a:gd name="T18" fmla="*/ 0 w 174"/>
                <a:gd name="T19" fmla="*/ 0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4" h="174">
                  <a:moveTo>
                    <a:pt x="0" y="0"/>
                  </a:moveTo>
                  <a:cubicBezTo>
                    <a:pt x="48" y="0"/>
                    <a:pt x="92" y="19"/>
                    <a:pt x="123" y="51"/>
                  </a:cubicBezTo>
                  <a:lnTo>
                    <a:pt x="123" y="51"/>
                  </a:lnTo>
                  <a:cubicBezTo>
                    <a:pt x="155" y="83"/>
                    <a:pt x="174" y="126"/>
                    <a:pt x="174" y="174"/>
                  </a:cubicBezTo>
                  <a:lnTo>
                    <a:pt x="127" y="174"/>
                  </a:lnTo>
                  <a:cubicBezTo>
                    <a:pt x="127" y="139"/>
                    <a:pt x="113" y="107"/>
                    <a:pt x="90" y="84"/>
                  </a:cubicBezTo>
                  <a:lnTo>
                    <a:pt x="90" y="84"/>
                  </a:lnTo>
                  <a:cubicBezTo>
                    <a:pt x="67" y="61"/>
                    <a:pt x="35" y="47"/>
                    <a:pt x="0" y="47"/>
                  </a:cubicBezTo>
                  <a:lnTo>
                    <a:pt x="0" y="4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ECB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66" name="Freeform 225"/>
            <p:cNvSpPr>
              <a:spLocks/>
            </p:cNvSpPr>
            <p:nvPr/>
          </p:nvSpPr>
          <p:spPr bwMode="auto">
            <a:xfrm>
              <a:off x="2130425" y="1747838"/>
              <a:ext cx="49213" cy="47625"/>
            </a:xfrm>
            <a:custGeom>
              <a:avLst/>
              <a:gdLst>
                <a:gd name="T0" fmla="*/ 0 w 156"/>
                <a:gd name="T1" fmla="*/ 0 h 156"/>
                <a:gd name="T2" fmla="*/ 111 w 156"/>
                <a:gd name="T3" fmla="*/ 46 h 156"/>
                <a:gd name="T4" fmla="*/ 111 w 156"/>
                <a:gd name="T5" fmla="*/ 46 h 156"/>
                <a:gd name="T6" fmla="*/ 156 w 156"/>
                <a:gd name="T7" fmla="*/ 156 h 156"/>
                <a:gd name="T8" fmla="*/ 114 w 156"/>
                <a:gd name="T9" fmla="*/ 156 h 156"/>
                <a:gd name="T10" fmla="*/ 81 w 156"/>
                <a:gd name="T11" fmla="*/ 76 h 156"/>
                <a:gd name="T12" fmla="*/ 81 w 156"/>
                <a:gd name="T13" fmla="*/ 76 h 156"/>
                <a:gd name="T14" fmla="*/ 0 w 156"/>
                <a:gd name="T15" fmla="*/ 42 h 156"/>
                <a:gd name="T16" fmla="*/ 0 w 156"/>
                <a:gd name="T17" fmla="*/ 42 h 156"/>
                <a:gd name="T18" fmla="*/ 0 w 156"/>
                <a:gd name="T19" fmla="*/ 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6" h="156">
                  <a:moveTo>
                    <a:pt x="0" y="0"/>
                  </a:moveTo>
                  <a:cubicBezTo>
                    <a:pt x="43" y="0"/>
                    <a:pt x="82" y="17"/>
                    <a:pt x="111" y="46"/>
                  </a:cubicBezTo>
                  <a:lnTo>
                    <a:pt x="111" y="46"/>
                  </a:lnTo>
                  <a:cubicBezTo>
                    <a:pt x="139" y="74"/>
                    <a:pt x="156" y="113"/>
                    <a:pt x="156" y="156"/>
                  </a:cubicBezTo>
                  <a:lnTo>
                    <a:pt x="114" y="156"/>
                  </a:lnTo>
                  <a:cubicBezTo>
                    <a:pt x="114" y="125"/>
                    <a:pt x="101" y="96"/>
                    <a:pt x="81" y="76"/>
                  </a:cubicBezTo>
                  <a:lnTo>
                    <a:pt x="81" y="76"/>
                  </a:lnTo>
                  <a:cubicBezTo>
                    <a:pt x="60" y="55"/>
                    <a:pt x="32" y="42"/>
                    <a:pt x="0" y="42"/>
                  </a:cubicBezTo>
                  <a:lnTo>
                    <a:pt x="0" y="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7F1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67" name="Freeform 226"/>
            <p:cNvSpPr>
              <a:spLocks/>
            </p:cNvSpPr>
            <p:nvPr/>
          </p:nvSpPr>
          <p:spPr bwMode="auto">
            <a:xfrm>
              <a:off x="2130425" y="1752600"/>
              <a:ext cx="42863" cy="42862"/>
            </a:xfrm>
            <a:custGeom>
              <a:avLst/>
              <a:gdLst>
                <a:gd name="T0" fmla="*/ 0 w 138"/>
                <a:gd name="T1" fmla="*/ 0 h 138"/>
                <a:gd name="T2" fmla="*/ 98 w 138"/>
                <a:gd name="T3" fmla="*/ 40 h 138"/>
                <a:gd name="T4" fmla="*/ 98 w 138"/>
                <a:gd name="T5" fmla="*/ 41 h 138"/>
                <a:gd name="T6" fmla="*/ 138 w 138"/>
                <a:gd name="T7" fmla="*/ 138 h 138"/>
                <a:gd name="T8" fmla="*/ 101 w 138"/>
                <a:gd name="T9" fmla="*/ 138 h 138"/>
                <a:gd name="T10" fmla="*/ 71 w 138"/>
                <a:gd name="T11" fmla="*/ 67 h 138"/>
                <a:gd name="T12" fmla="*/ 71 w 138"/>
                <a:gd name="T13" fmla="*/ 67 h 138"/>
                <a:gd name="T14" fmla="*/ 0 w 138"/>
                <a:gd name="T15" fmla="*/ 37 h 138"/>
                <a:gd name="T16" fmla="*/ 0 w 138"/>
                <a:gd name="T17" fmla="*/ 37 h 138"/>
                <a:gd name="T18" fmla="*/ 0 w 138"/>
                <a:gd name="T19" fmla="*/ 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8" h="138">
                  <a:moveTo>
                    <a:pt x="0" y="0"/>
                  </a:moveTo>
                  <a:cubicBezTo>
                    <a:pt x="38" y="0"/>
                    <a:pt x="73" y="15"/>
                    <a:pt x="98" y="40"/>
                  </a:cubicBezTo>
                  <a:lnTo>
                    <a:pt x="98" y="41"/>
                  </a:lnTo>
                  <a:cubicBezTo>
                    <a:pt x="123" y="66"/>
                    <a:pt x="138" y="100"/>
                    <a:pt x="138" y="138"/>
                  </a:cubicBezTo>
                  <a:lnTo>
                    <a:pt x="101" y="138"/>
                  </a:lnTo>
                  <a:cubicBezTo>
                    <a:pt x="101" y="110"/>
                    <a:pt x="90" y="85"/>
                    <a:pt x="71" y="67"/>
                  </a:cubicBezTo>
                  <a:lnTo>
                    <a:pt x="71" y="67"/>
                  </a:lnTo>
                  <a:cubicBezTo>
                    <a:pt x="53" y="49"/>
                    <a:pt x="28" y="37"/>
                    <a:pt x="0" y="37"/>
                  </a:cubicBezTo>
                  <a:lnTo>
                    <a:pt x="0" y="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ECB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68" name="Freeform 227"/>
            <p:cNvSpPr>
              <a:spLocks/>
            </p:cNvSpPr>
            <p:nvPr/>
          </p:nvSpPr>
          <p:spPr bwMode="auto">
            <a:xfrm>
              <a:off x="2130425" y="1758950"/>
              <a:ext cx="38100" cy="36512"/>
            </a:xfrm>
            <a:custGeom>
              <a:avLst/>
              <a:gdLst>
                <a:gd name="T0" fmla="*/ 0 w 120"/>
                <a:gd name="T1" fmla="*/ 0 h 120"/>
                <a:gd name="T2" fmla="*/ 85 w 120"/>
                <a:gd name="T3" fmla="*/ 35 h 120"/>
                <a:gd name="T4" fmla="*/ 85 w 120"/>
                <a:gd name="T5" fmla="*/ 35 h 120"/>
                <a:gd name="T6" fmla="*/ 120 w 120"/>
                <a:gd name="T7" fmla="*/ 120 h 120"/>
                <a:gd name="T8" fmla="*/ 88 w 120"/>
                <a:gd name="T9" fmla="*/ 120 h 120"/>
                <a:gd name="T10" fmla="*/ 62 w 120"/>
                <a:gd name="T11" fmla="*/ 58 h 120"/>
                <a:gd name="T12" fmla="*/ 62 w 120"/>
                <a:gd name="T13" fmla="*/ 58 h 120"/>
                <a:gd name="T14" fmla="*/ 0 w 120"/>
                <a:gd name="T15" fmla="*/ 32 h 120"/>
                <a:gd name="T16" fmla="*/ 0 w 120"/>
                <a:gd name="T17" fmla="*/ 32 h 120"/>
                <a:gd name="T18" fmla="*/ 0 w 120"/>
                <a:gd name="T19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0" h="120">
                  <a:moveTo>
                    <a:pt x="0" y="0"/>
                  </a:moveTo>
                  <a:cubicBezTo>
                    <a:pt x="33" y="0"/>
                    <a:pt x="63" y="13"/>
                    <a:pt x="85" y="35"/>
                  </a:cubicBezTo>
                  <a:lnTo>
                    <a:pt x="85" y="35"/>
                  </a:lnTo>
                  <a:cubicBezTo>
                    <a:pt x="107" y="57"/>
                    <a:pt x="120" y="87"/>
                    <a:pt x="120" y="120"/>
                  </a:cubicBezTo>
                  <a:lnTo>
                    <a:pt x="88" y="120"/>
                  </a:lnTo>
                  <a:cubicBezTo>
                    <a:pt x="88" y="96"/>
                    <a:pt x="78" y="74"/>
                    <a:pt x="62" y="58"/>
                  </a:cubicBezTo>
                  <a:lnTo>
                    <a:pt x="62" y="58"/>
                  </a:lnTo>
                  <a:cubicBezTo>
                    <a:pt x="46" y="42"/>
                    <a:pt x="24" y="32"/>
                    <a:pt x="0" y="32"/>
                  </a:cubicBezTo>
                  <a:lnTo>
                    <a:pt x="0" y="3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7F1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69" name="Freeform 228"/>
            <p:cNvSpPr>
              <a:spLocks/>
            </p:cNvSpPr>
            <p:nvPr/>
          </p:nvSpPr>
          <p:spPr bwMode="auto">
            <a:xfrm>
              <a:off x="2130425" y="1763713"/>
              <a:ext cx="31750" cy="31750"/>
            </a:xfrm>
            <a:custGeom>
              <a:avLst/>
              <a:gdLst>
                <a:gd name="T0" fmla="*/ 0 w 102"/>
                <a:gd name="T1" fmla="*/ 0 h 102"/>
                <a:gd name="T2" fmla="*/ 72 w 102"/>
                <a:gd name="T3" fmla="*/ 30 h 102"/>
                <a:gd name="T4" fmla="*/ 72 w 102"/>
                <a:gd name="T5" fmla="*/ 30 h 102"/>
                <a:gd name="T6" fmla="*/ 102 w 102"/>
                <a:gd name="T7" fmla="*/ 102 h 102"/>
                <a:gd name="T8" fmla="*/ 75 w 102"/>
                <a:gd name="T9" fmla="*/ 102 h 102"/>
                <a:gd name="T10" fmla="*/ 53 w 102"/>
                <a:gd name="T11" fmla="*/ 50 h 102"/>
                <a:gd name="T12" fmla="*/ 53 w 102"/>
                <a:gd name="T13" fmla="*/ 50 h 102"/>
                <a:gd name="T14" fmla="*/ 0 w 102"/>
                <a:gd name="T15" fmla="*/ 28 h 102"/>
                <a:gd name="T16" fmla="*/ 0 w 102"/>
                <a:gd name="T17" fmla="*/ 28 h 102"/>
                <a:gd name="T18" fmla="*/ 0 w 102"/>
                <a:gd name="T19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2" h="102">
                  <a:moveTo>
                    <a:pt x="0" y="0"/>
                  </a:moveTo>
                  <a:cubicBezTo>
                    <a:pt x="28" y="0"/>
                    <a:pt x="54" y="12"/>
                    <a:pt x="72" y="30"/>
                  </a:cubicBezTo>
                  <a:lnTo>
                    <a:pt x="72" y="30"/>
                  </a:lnTo>
                  <a:cubicBezTo>
                    <a:pt x="91" y="49"/>
                    <a:pt x="102" y="74"/>
                    <a:pt x="102" y="102"/>
                  </a:cubicBezTo>
                  <a:lnTo>
                    <a:pt x="75" y="102"/>
                  </a:lnTo>
                  <a:cubicBezTo>
                    <a:pt x="75" y="82"/>
                    <a:pt x="66" y="63"/>
                    <a:pt x="53" y="50"/>
                  </a:cubicBezTo>
                  <a:lnTo>
                    <a:pt x="53" y="50"/>
                  </a:lnTo>
                  <a:cubicBezTo>
                    <a:pt x="39" y="36"/>
                    <a:pt x="21" y="28"/>
                    <a:pt x="0" y="28"/>
                  </a:cubicBezTo>
                  <a:lnTo>
                    <a:pt x="0" y="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ECB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0" name="Freeform 229"/>
            <p:cNvSpPr>
              <a:spLocks/>
            </p:cNvSpPr>
            <p:nvPr/>
          </p:nvSpPr>
          <p:spPr bwMode="auto">
            <a:xfrm>
              <a:off x="2130425" y="1770063"/>
              <a:ext cx="26988" cy="25400"/>
            </a:xfrm>
            <a:custGeom>
              <a:avLst/>
              <a:gdLst>
                <a:gd name="T0" fmla="*/ 0 w 84"/>
                <a:gd name="T1" fmla="*/ 0 h 84"/>
                <a:gd name="T2" fmla="*/ 59 w 84"/>
                <a:gd name="T3" fmla="*/ 25 h 84"/>
                <a:gd name="T4" fmla="*/ 59 w 84"/>
                <a:gd name="T5" fmla="*/ 25 h 84"/>
                <a:gd name="T6" fmla="*/ 84 w 84"/>
                <a:gd name="T7" fmla="*/ 84 h 84"/>
                <a:gd name="T8" fmla="*/ 61 w 84"/>
                <a:gd name="T9" fmla="*/ 84 h 84"/>
                <a:gd name="T10" fmla="*/ 43 w 84"/>
                <a:gd name="T11" fmla="*/ 41 h 84"/>
                <a:gd name="T12" fmla="*/ 43 w 84"/>
                <a:gd name="T13" fmla="*/ 41 h 84"/>
                <a:gd name="T14" fmla="*/ 0 w 84"/>
                <a:gd name="T15" fmla="*/ 23 h 84"/>
                <a:gd name="T16" fmla="*/ 0 w 84"/>
                <a:gd name="T17" fmla="*/ 23 h 84"/>
                <a:gd name="T18" fmla="*/ 0 w 84"/>
                <a:gd name="T19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0" y="0"/>
                  </a:moveTo>
                  <a:cubicBezTo>
                    <a:pt x="23" y="0"/>
                    <a:pt x="44" y="10"/>
                    <a:pt x="59" y="25"/>
                  </a:cubicBezTo>
                  <a:lnTo>
                    <a:pt x="59" y="25"/>
                  </a:lnTo>
                  <a:cubicBezTo>
                    <a:pt x="75" y="40"/>
                    <a:pt x="84" y="61"/>
                    <a:pt x="84" y="84"/>
                  </a:cubicBezTo>
                  <a:lnTo>
                    <a:pt x="61" y="84"/>
                  </a:lnTo>
                  <a:cubicBezTo>
                    <a:pt x="61" y="67"/>
                    <a:pt x="54" y="52"/>
                    <a:pt x="43" y="41"/>
                  </a:cubicBezTo>
                  <a:lnTo>
                    <a:pt x="43" y="41"/>
                  </a:lnTo>
                  <a:cubicBezTo>
                    <a:pt x="32" y="30"/>
                    <a:pt x="17" y="23"/>
                    <a:pt x="0" y="23"/>
                  </a:cubicBezTo>
                  <a:lnTo>
                    <a:pt x="0" y="2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7F1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1" name="Freeform 230"/>
            <p:cNvSpPr>
              <a:spLocks/>
            </p:cNvSpPr>
            <p:nvPr/>
          </p:nvSpPr>
          <p:spPr bwMode="auto">
            <a:xfrm>
              <a:off x="2130425" y="1774825"/>
              <a:ext cx="20638" cy="20637"/>
            </a:xfrm>
            <a:custGeom>
              <a:avLst/>
              <a:gdLst>
                <a:gd name="T0" fmla="*/ 0 w 66"/>
                <a:gd name="T1" fmla="*/ 0 h 66"/>
                <a:gd name="T2" fmla="*/ 47 w 66"/>
                <a:gd name="T3" fmla="*/ 19 h 66"/>
                <a:gd name="T4" fmla="*/ 47 w 66"/>
                <a:gd name="T5" fmla="*/ 19 h 66"/>
                <a:gd name="T6" fmla="*/ 66 w 66"/>
                <a:gd name="T7" fmla="*/ 66 h 66"/>
                <a:gd name="T8" fmla="*/ 57 w 66"/>
                <a:gd name="T9" fmla="*/ 66 h 66"/>
                <a:gd name="T10" fmla="*/ 48 w 66"/>
                <a:gd name="T11" fmla="*/ 66 h 66"/>
                <a:gd name="T12" fmla="*/ 0 w 66"/>
                <a:gd name="T13" fmla="*/ 66 h 66"/>
                <a:gd name="T14" fmla="*/ 0 w 66"/>
                <a:gd name="T15" fmla="*/ 47 h 66"/>
                <a:gd name="T16" fmla="*/ 0 w 66"/>
                <a:gd name="T17" fmla="*/ 43 h 66"/>
                <a:gd name="T18" fmla="*/ 0 w 66"/>
                <a:gd name="T19" fmla="*/ 18 h 66"/>
                <a:gd name="T20" fmla="*/ 0 w 66"/>
                <a:gd name="T21" fmla="*/ 18 h 66"/>
                <a:gd name="T22" fmla="*/ 0 w 66"/>
                <a:gd name="T23" fmla="*/ 15 h 66"/>
                <a:gd name="T24" fmla="*/ 0 w 66"/>
                <a:gd name="T25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66">
                  <a:moveTo>
                    <a:pt x="0" y="0"/>
                  </a:moveTo>
                  <a:cubicBezTo>
                    <a:pt x="18" y="0"/>
                    <a:pt x="35" y="7"/>
                    <a:pt x="47" y="19"/>
                  </a:cubicBezTo>
                  <a:lnTo>
                    <a:pt x="47" y="19"/>
                  </a:lnTo>
                  <a:cubicBezTo>
                    <a:pt x="59" y="32"/>
                    <a:pt x="66" y="48"/>
                    <a:pt x="66" y="66"/>
                  </a:cubicBezTo>
                  <a:lnTo>
                    <a:pt x="57" y="66"/>
                  </a:lnTo>
                  <a:lnTo>
                    <a:pt x="48" y="66"/>
                  </a:lnTo>
                  <a:lnTo>
                    <a:pt x="0" y="66"/>
                  </a:lnTo>
                  <a:lnTo>
                    <a:pt x="0" y="47"/>
                  </a:lnTo>
                  <a:lnTo>
                    <a:pt x="0" y="43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ECB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2" name="Freeform 231"/>
            <p:cNvSpPr>
              <a:spLocks/>
            </p:cNvSpPr>
            <p:nvPr/>
          </p:nvSpPr>
          <p:spPr bwMode="auto">
            <a:xfrm>
              <a:off x="2130425" y="1781175"/>
              <a:ext cx="15875" cy="14287"/>
            </a:xfrm>
            <a:custGeom>
              <a:avLst/>
              <a:gdLst>
                <a:gd name="T0" fmla="*/ 0 w 48"/>
                <a:gd name="T1" fmla="*/ 0 h 48"/>
                <a:gd name="T2" fmla="*/ 34 w 48"/>
                <a:gd name="T3" fmla="*/ 14 h 48"/>
                <a:gd name="T4" fmla="*/ 34 w 48"/>
                <a:gd name="T5" fmla="*/ 14 h 48"/>
                <a:gd name="T6" fmla="*/ 48 w 48"/>
                <a:gd name="T7" fmla="*/ 48 h 48"/>
                <a:gd name="T8" fmla="*/ 42 w 48"/>
                <a:gd name="T9" fmla="*/ 48 h 48"/>
                <a:gd name="T10" fmla="*/ 35 w 48"/>
                <a:gd name="T11" fmla="*/ 48 h 48"/>
                <a:gd name="T12" fmla="*/ 0 w 48"/>
                <a:gd name="T13" fmla="*/ 48 h 48"/>
                <a:gd name="T14" fmla="*/ 0 w 48"/>
                <a:gd name="T15" fmla="*/ 34 h 48"/>
                <a:gd name="T16" fmla="*/ 0 w 48"/>
                <a:gd name="T17" fmla="*/ 31 h 48"/>
                <a:gd name="T18" fmla="*/ 0 w 48"/>
                <a:gd name="T19" fmla="*/ 13 h 48"/>
                <a:gd name="T20" fmla="*/ 0 w 48"/>
                <a:gd name="T21" fmla="*/ 13 h 48"/>
                <a:gd name="T22" fmla="*/ 0 w 48"/>
                <a:gd name="T23" fmla="*/ 11 h 48"/>
                <a:gd name="T24" fmla="*/ 0 w 48"/>
                <a:gd name="T25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" h="48">
                  <a:moveTo>
                    <a:pt x="0" y="0"/>
                  </a:moveTo>
                  <a:cubicBezTo>
                    <a:pt x="13" y="0"/>
                    <a:pt x="25" y="5"/>
                    <a:pt x="34" y="14"/>
                  </a:cubicBezTo>
                  <a:lnTo>
                    <a:pt x="34" y="14"/>
                  </a:lnTo>
                  <a:cubicBezTo>
                    <a:pt x="43" y="23"/>
                    <a:pt x="48" y="35"/>
                    <a:pt x="48" y="48"/>
                  </a:cubicBezTo>
                  <a:lnTo>
                    <a:pt x="42" y="48"/>
                  </a:lnTo>
                  <a:lnTo>
                    <a:pt x="35" y="48"/>
                  </a:lnTo>
                  <a:lnTo>
                    <a:pt x="0" y="48"/>
                  </a:lnTo>
                  <a:lnTo>
                    <a:pt x="0" y="34"/>
                  </a:lnTo>
                  <a:lnTo>
                    <a:pt x="0" y="31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7F1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3" name="Freeform 232"/>
            <p:cNvSpPr>
              <a:spLocks/>
            </p:cNvSpPr>
            <p:nvPr/>
          </p:nvSpPr>
          <p:spPr bwMode="auto">
            <a:xfrm>
              <a:off x="2130425" y="1785938"/>
              <a:ext cx="9525" cy="9525"/>
            </a:xfrm>
            <a:custGeom>
              <a:avLst/>
              <a:gdLst>
                <a:gd name="T0" fmla="*/ 0 w 30"/>
                <a:gd name="T1" fmla="*/ 0 h 30"/>
                <a:gd name="T2" fmla="*/ 21 w 30"/>
                <a:gd name="T3" fmla="*/ 9 h 30"/>
                <a:gd name="T4" fmla="*/ 21 w 30"/>
                <a:gd name="T5" fmla="*/ 9 h 30"/>
                <a:gd name="T6" fmla="*/ 30 w 30"/>
                <a:gd name="T7" fmla="*/ 30 h 30"/>
                <a:gd name="T8" fmla="*/ 0 w 30"/>
                <a:gd name="T9" fmla="*/ 30 h 30"/>
                <a:gd name="T10" fmla="*/ 0 w 30"/>
                <a:gd name="T11" fmla="*/ 22 h 30"/>
                <a:gd name="T12" fmla="*/ 0 w 30"/>
                <a:gd name="T13" fmla="*/ 20 h 30"/>
                <a:gd name="T14" fmla="*/ 0 w 30"/>
                <a:gd name="T15" fmla="*/ 8 h 30"/>
                <a:gd name="T16" fmla="*/ 0 w 30"/>
                <a:gd name="T17" fmla="*/ 8 h 30"/>
                <a:gd name="T18" fmla="*/ 0 w 30"/>
                <a:gd name="T19" fmla="*/ 7 h 30"/>
                <a:gd name="T20" fmla="*/ 0 w 30"/>
                <a:gd name="T2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30">
                  <a:moveTo>
                    <a:pt x="0" y="0"/>
                  </a:moveTo>
                  <a:cubicBezTo>
                    <a:pt x="8" y="0"/>
                    <a:pt x="16" y="4"/>
                    <a:pt x="21" y="9"/>
                  </a:cubicBezTo>
                  <a:lnTo>
                    <a:pt x="21" y="9"/>
                  </a:lnTo>
                  <a:cubicBezTo>
                    <a:pt x="27" y="14"/>
                    <a:pt x="30" y="22"/>
                    <a:pt x="30" y="30"/>
                  </a:cubicBezTo>
                  <a:lnTo>
                    <a:pt x="0" y="30"/>
                  </a:lnTo>
                  <a:lnTo>
                    <a:pt x="0" y="22"/>
                  </a:lnTo>
                  <a:lnTo>
                    <a:pt x="0" y="20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ECB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4" name="Freeform 233"/>
            <p:cNvSpPr>
              <a:spLocks/>
            </p:cNvSpPr>
            <p:nvPr/>
          </p:nvSpPr>
          <p:spPr bwMode="auto">
            <a:xfrm>
              <a:off x="2130425" y="1792288"/>
              <a:ext cx="4763" cy="3175"/>
            </a:xfrm>
            <a:custGeom>
              <a:avLst/>
              <a:gdLst>
                <a:gd name="T0" fmla="*/ 0 w 12"/>
                <a:gd name="T1" fmla="*/ 0 h 12"/>
                <a:gd name="T2" fmla="*/ 9 w 12"/>
                <a:gd name="T3" fmla="*/ 4 h 12"/>
                <a:gd name="T4" fmla="*/ 9 w 12"/>
                <a:gd name="T5" fmla="*/ 4 h 12"/>
                <a:gd name="T6" fmla="*/ 12 w 12"/>
                <a:gd name="T7" fmla="*/ 12 h 12"/>
                <a:gd name="T8" fmla="*/ 0 w 12"/>
                <a:gd name="T9" fmla="*/ 12 h 12"/>
                <a:gd name="T10" fmla="*/ 0 w 12"/>
                <a:gd name="T11" fmla="*/ 9 h 12"/>
                <a:gd name="T12" fmla="*/ 0 w 12"/>
                <a:gd name="T13" fmla="*/ 8 h 12"/>
                <a:gd name="T14" fmla="*/ 0 w 12"/>
                <a:gd name="T15" fmla="*/ 3 h 12"/>
                <a:gd name="T16" fmla="*/ 0 w 12"/>
                <a:gd name="T17" fmla="*/ 3 h 12"/>
                <a:gd name="T18" fmla="*/ 0 w 12"/>
                <a:gd name="T19" fmla="*/ 3 h 12"/>
                <a:gd name="T20" fmla="*/ 0 w 12"/>
                <a:gd name="T2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" h="12">
                  <a:moveTo>
                    <a:pt x="0" y="0"/>
                  </a:moveTo>
                  <a:cubicBezTo>
                    <a:pt x="3" y="0"/>
                    <a:pt x="6" y="2"/>
                    <a:pt x="9" y="4"/>
                  </a:cubicBezTo>
                  <a:lnTo>
                    <a:pt x="9" y="4"/>
                  </a:lnTo>
                  <a:cubicBezTo>
                    <a:pt x="11" y="6"/>
                    <a:pt x="12" y="9"/>
                    <a:pt x="12" y="12"/>
                  </a:cubicBezTo>
                  <a:lnTo>
                    <a:pt x="0" y="12"/>
                  </a:lnTo>
                  <a:lnTo>
                    <a:pt x="0" y="9"/>
                  </a:lnTo>
                  <a:lnTo>
                    <a:pt x="0" y="8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9A7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5" name="Rectangle 234"/>
            <p:cNvSpPr>
              <a:spLocks noChangeArrowheads="1"/>
            </p:cNvSpPr>
            <p:nvPr/>
          </p:nvSpPr>
          <p:spPr bwMode="auto">
            <a:xfrm>
              <a:off x="2271713" y="1725613"/>
              <a:ext cx="320675" cy="4762"/>
            </a:xfrm>
            <a:prstGeom prst="rect">
              <a:avLst/>
            </a:prstGeom>
            <a:solidFill>
              <a:srgbClr val="D9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6" name="Rectangle 235"/>
            <p:cNvSpPr>
              <a:spLocks noChangeArrowheads="1"/>
            </p:cNvSpPr>
            <p:nvPr/>
          </p:nvSpPr>
          <p:spPr bwMode="auto">
            <a:xfrm>
              <a:off x="2271713" y="1736725"/>
              <a:ext cx="320675" cy="4762"/>
            </a:xfrm>
            <a:prstGeom prst="rect">
              <a:avLst/>
            </a:prstGeom>
            <a:solidFill>
              <a:srgbClr val="D9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7" name="Rectangle 236"/>
            <p:cNvSpPr>
              <a:spLocks noChangeArrowheads="1"/>
            </p:cNvSpPr>
            <p:nvPr/>
          </p:nvSpPr>
          <p:spPr bwMode="auto">
            <a:xfrm>
              <a:off x="2271713" y="1747838"/>
              <a:ext cx="320675" cy="4762"/>
            </a:xfrm>
            <a:prstGeom prst="rect">
              <a:avLst/>
            </a:prstGeom>
            <a:solidFill>
              <a:srgbClr val="D9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8" name="Rectangle 237"/>
            <p:cNvSpPr>
              <a:spLocks noChangeArrowheads="1"/>
            </p:cNvSpPr>
            <p:nvPr/>
          </p:nvSpPr>
          <p:spPr bwMode="auto">
            <a:xfrm>
              <a:off x="2271713" y="1758950"/>
              <a:ext cx="320675" cy="4762"/>
            </a:xfrm>
            <a:prstGeom prst="rect">
              <a:avLst/>
            </a:prstGeom>
            <a:solidFill>
              <a:srgbClr val="D9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9" name="Rectangle 238"/>
            <p:cNvSpPr>
              <a:spLocks noChangeArrowheads="1"/>
            </p:cNvSpPr>
            <p:nvPr/>
          </p:nvSpPr>
          <p:spPr bwMode="auto">
            <a:xfrm>
              <a:off x="2271713" y="1770063"/>
              <a:ext cx="320675" cy="4762"/>
            </a:xfrm>
            <a:prstGeom prst="rect">
              <a:avLst/>
            </a:prstGeom>
            <a:solidFill>
              <a:srgbClr val="D9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0" name="Rectangle 239"/>
            <p:cNvSpPr>
              <a:spLocks noChangeArrowheads="1"/>
            </p:cNvSpPr>
            <p:nvPr/>
          </p:nvSpPr>
          <p:spPr bwMode="auto">
            <a:xfrm>
              <a:off x="2271713" y="1781175"/>
              <a:ext cx="320675" cy="4762"/>
            </a:xfrm>
            <a:prstGeom prst="rect">
              <a:avLst/>
            </a:prstGeom>
            <a:solidFill>
              <a:srgbClr val="D9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1" name="Rectangle 240"/>
            <p:cNvSpPr>
              <a:spLocks noChangeArrowheads="1"/>
            </p:cNvSpPr>
            <p:nvPr/>
          </p:nvSpPr>
          <p:spPr bwMode="auto">
            <a:xfrm>
              <a:off x="2271713" y="1730375"/>
              <a:ext cx="320675" cy="6350"/>
            </a:xfrm>
            <a:prstGeom prst="rect">
              <a:avLst/>
            </a:prstGeom>
            <a:solidFill>
              <a:srgbClr val="9BBC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2" name="Rectangle 241"/>
            <p:cNvSpPr>
              <a:spLocks noChangeArrowheads="1"/>
            </p:cNvSpPr>
            <p:nvPr/>
          </p:nvSpPr>
          <p:spPr bwMode="auto">
            <a:xfrm>
              <a:off x="2271713" y="1741488"/>
              <a:ext cx="320675" cy="6350"/>
            </a:xfrm>
            <a:prstGeom prst="rect">
              <a:avLst/>
            </a:prstGeom>
            <a:solidFill>
              <a:srgbClr val="9BBC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3" name="Rectangle 242"/>
            <p:cNvSpPr>
              <a:spLocks noChangeArrowheads="1"/>
            </p:cNvSpPr>
            <p:nvPr/>
          </p:nvSpPr>
          <p:spPr bwMode="auto">
            <a:xfrm>
              <a:off x="2271713" y="1752600"/>
              <a:ext cx="320675" cy="6350"/>
            </a:xfrm>
            <a:prstGeom prst="rect">
              <a:avLst/>
            </a:prstGeom>
            <a:solidFill>
              <a:srgbClr val="9BBC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4" name="Rectangle 243"/>
            <p:cNvSpPr>
              <a:spLocks noChangeArrowheads="1"/>
            </p:cNvSpPr>
            <p:nvPr/>
          </p:nvSpPr>
          <p:spPr bwMode="auto">
            <a:xfrm>
              <a:off x="2271713" y="1763713"/>
              <a:ext cx="320675" cy="6350"/>
            </a:xfrm>
            <a:prstGeom prst="rect">
              <a:avLst/>
            </a:prstGeom>
            <a:solidFill>
              <a:srgbClr val="9BBC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5" name="Rectangle 244"/>
            <p:cNvSpPr>
              <a:spLocks noChangeArrowheads="1"/>
            </p:cNvSpPr>
            <p:nvPr/>
          </p:nvSpPr>
          <p:spPr bwMode="auto">
            <a:xfrm>
              <a:off x="2271713" y="1774825"/>
              <a:ext cx="320675" cy="6350"/>
            </a:xfrm>
            <a:prstGeom prst="rect">
              <a:avLst/>
            </a:prstGeom>
            <a:solidFill>
              <a:srgbClr val="9BBC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6" name="Rectangle 245"/>
            <p:cNvSpPr>
              <a:spLocks noChangeArrowheads="1"/>
            </p:cNvSpPr>
            <p:nvPr/>
          </p:nvSpPr>
          <p:spPr bwMode="auto">
            <a:xfrm>
              <a:off x="2271713" y="1785938"/>
              <a:ext cx="320675" cy="6350"/>
            </a:xfrm>
            <a:prstGeom prst="rect">
              <a:avLst/>
            </a:prstGeom>
            <a:solidFill>
              <a:srgbClr val="9BBC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7" name="Rectangle 246"/>
            <p:cNvSpPr>
              <a:spLocks noChangeArrowheads="1"/>
            </p:cNvSpPr>
            <p:nvPr/>
          </p:nvSpPr>
          <p:spPr bwMode="auto">
            <a:xfrm>
              <a:off x="2271713" y="1792288"/>
              <a:ext cx="320675" cy="3175"/>
            </a:xfrm>
            <a:prstGeom prst="rect">
              <a:avLst/>
            </a:prstGeom>
            <a:solidFill>
              <a:srgbClr val="6F9A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8" name="Freeform 247"/>
            <p:cNvSpPr>
              <a:spLocks/>
            </p:cNvSpPr>
            <p:nvPr/>
          </p:nvSpPr>
          <p:spPr bwMode="auto">
            <a:xfrm>
              <a:off x="2201863" y="1725613"/>
              <a:ext cx="69850" cy="69850"/>
            </a:xfrm>
            <a:custGeom>
              <a:avLst/>
              <a:gdLst>
                <a:gd name="T0" fmla="*/ 228 w 228"/>
                <a:gd name="T1" fmla="*/ 0 h 228"/>
                <a:gd name="T2" fmla="*/ 67 w 228"/>
                <a:gd name="T3" fmla="*/ 67 h 228"/>
                <a:gd name="T4" fmla="*/ 67 w 228"/>
                <a:gd name="T5" fmla="*/ 67 h 228"/>
                <a:gd name="T6" fmla="*/ 0 w 228"/>
                <a:gd name="T7" fmla="*/ 228 h 228"/>
                <a:gd name="T8" fmla="*/ 61 w 228"/>
                <a:gd name="T9" fmla="*/ 228 h 228"/>
                <a:gd name="T10" fmla="*/ 110 w 228"/>
                <a:gd name="T11" fmla="*/ 110 h 228"/>
                <a:gd name="T12" fmla="*/ 110 w 228"/>
                <a:gd name="T13" fmla="*/ 110 h 228"/>
                <a:gd name="T14" fmla="*/ 228 w 228"/>
                <a:gd name="T15" fmla="*/ 61 h 228"/>
                <a:gd name="T16" fmla="*/ 228 w 228"/>
                <a:gd name="T17" fmla="*/ 61 h 228"/>
                <a:gd name="T18" fmla="*/ 228 w 228"/>
                <a:gd name="T19" fmla="*/ 0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8" h="228">
                  <a:moveTo>
                    <a:pt x="228" y="0"/>
                  </a:moveTo>
                  <a:cubicBezTo>
                    <a:pt x="165" y="0"/>
                    <a:pt x="108" y="25"/>
                    <a:pt x="67" y="67"/>
                  </a:cubicBezTo>
                  <a:lnTo>
                    <a:pt x="67" y="67"/>
                  </a:lnTo>
                  <a:cubicBezTo>
                    <a:pt x="25" y="108"/>
                    <a:pt x="0" y="165"/>
                    <a:pt x="0" y="228"/>
                  </a:cubicBezTo>
                  <a:lnTo>
                    <a:pt x="61" y="228"/>
                  </a:lnTo>
                  <a:cubicBezTo>
                    <a:pt x="61" y="182"/>
                    <a:pt x="80" y="140"/>
                    <a:pt x="110" y="110"/>
                  </a:cubicBezTo>
                  <a:lnTo>
                    <a:pt x="110" y="110"/>
                  </a:lnTo>
                  <a:cubicBezTo>
                    <a:pt x="141" y="80"/>
                    <a:pt x="182" y="61"/>
                    <a:pt x="228" y="61"/>
                  </a:cubicBezTo>
                  <a:lnTo>
                    <a:pt x="228" y="61"/>
                  </a:lnTo>
                  <a:lnTo>
                    <a:pt x="228" y="0"/>
                  </a:lnTo>
                  <a:close/>
                </a:path>
              </a:pathLst>
            </a:custGeom>
            <a:solidFill>
              <a:srgbClr val="D9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9" name="Freeform 248"/>
            <p:cNvSpPr>
              <a:spLocks/>
            </p:cNvSpPr>
            <p:nvPr/>
          </p:nvSpPr>
          <p:spPr bwMode="auto">
            <a:xfrm>
              <a:off x="2206625" y="1730375"/>
              <a:ext cx="65088" cy="65087"/>
            </a:xfrm>
            <a:custGeom>
              <a:avLst/>
              <a:gdLst>
                <a:gd name="T0" fmla="*/ 210 w 211"/>
                <a:gd name="T1" fmla="*/ 0 h 210"/>
                <a:gd name="T2" fmla="*/ 62 w 211"/>
                <a:gd name="T3" fmla="*/ 61 h 210"/>
                <a:gd name="T4" fmla="*/ 62 w 211"/>
                <a:gd name="T5" fmla="*/ 62 h 210"/>
                <a:gd name="T6" fmla="*/ 0 w 211"/>
                <a:gd name="T7" fmla="*/ 210 h 210"/>
                <a:gd name="T8" fmla="*/ 57 w 211"/>
                <a:gd name="T9" fmla="*/ 210 h 210"/>
                <a:gd name="T10" fmla="*/ 102 w 211"/>
                <a:gd name="T11" fmla="*/ 102 h 210"/>
                <a:gd name="T12" fmla="*/ 102 w 211"/>
                <a:gd name="T13" fmla="*/ 102 h 210"/>
                <a:gd name="T14" fmla="*/ 210 w 211"/>
                <a:gd name="T15" fmla="*/ 56 h 210"/>
                <a:gd name="T16" fmla="*/ 211 w 211"/>
                <a:gd name="T17" fmla="*/ 56 h 210"/>
                <a:gd name="T18" fmla="*/ 211 w 211"/>
                <a:gd name="T19" fmla="*/ 0 h 210"/>
                <a:gd name="T20" fmla="*/ 210 w 211"/>
                <a:gd name="T21" fmla="*/ 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1" h="210">
                  <a:moveTo>
                    <a:pt x="210" y="0"/>
                  </a:moveTo>
                  <a:cubicBezTo>
                    <a:pt x="152" y="0"/>
                    <a:pt x="100" y="23"/>
                    <a:pt x="62" y="61"/>
                  </a:cubicBezTo>
                  <a:lnTo>
                    <a:pt x="62" y="62"/>
                  </a:lnTo>
                  <a:cubicBezTo>
                    <a:pt x="23" y="100"/>
                    <a:pt x="0" y="152"/>
                    <a:pt x="0" y="210"/>
                  </a:cubicBezTo>
                  <a:lnTo>
                    <a:pt x="57" y="210"/>
                  </a:lnTo>
                  <a:cubicBezTo>
                    <a:pt x="57" y="168"/>
                    <a:pt x="74" y="129"/>
                    <a:pt x="102" y="102"/>
                  </a:cubicBezTo>
                  <a:lnTo>
                    <a:pt x="102" y="102"/>
                  </a:lnTo>
                  <a:cubicBezTo>
                    <a:pt x="130" y="74"/>
                    <a:pt x="168" y="56"/>
                    <a:pt x="210" y="56"/>
                  </a:cubicBezTo>
                  <a:lnTo>
                    <a:pt x="211" y="56"/>
                  </a:lnTo>
                  <a:lnTo>
                    <a:pt x="211" y="0"/>
                  </a:lnTo>
                  <a:lnTo>
                    <a:pt x="210" y="0"/>
                  </a:lnTo>
                  <a:close/>
                </a:path>
              </a:pathLst>
            </a:custGeom>
            <a:solidFill>
              <a:srgbClr val="9BBC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0" name="Freeform 249"/>
            <p:cNvSpPr>
              <a:spLocks/>
            </p:cNvSpPr>
            <p:nvPr/>
          </p:nvSpPr>
          <p:spPr bwMode="auto">
            <a:xfrm>
              <a:off x="2212975" y="1736725"/>
              <a:ext cx="58738" cy="58737"/>
            </a:xfrm>
            <a:custGeom>
              <a:avLst/>
              <a:gdLst>
                <a:gd name="T0" fmla="*/ 193 w 193"/>
                <a:gd name="T1" fmla="*/ 0 h 192"/>
                <a:gd name="T2" fmla="*/ 56 w 193"/>
                <a:gd name="T3" fmla="*/ 56 h 192"/>
                <a:gd name="T4" fmla="*/ 56 w 193"/>
                <a:gd name="T5" fmla="*/ 56 h 192"/>
                <a:gd name="T6" fmla="*/ 0 w 193"/>
                <a:gd name="T7" fmla="*/ 192 h 192"/>
                <a:gd name="T8" fmla="*/ 52 w 193"/>
                <a:gd name="T9" fmla="*/ 192 h 192"/>
                <a:gd name="T10" fmla="*/ 93 w 193"/>
                <a:gd name="T11" fmla="*/ 93 h 192"/>
                <a:gd name="T12" fmla="*/ 93 w 193"/>
                <a:gd name="T13" fmla="*/ 93 h 192"/>
                <a:gd name="T14" fmla="*/ 193 w 193"/>
                <a:gd name="T15" fmla="*/ 52 h 192"/>
                <a:gd name="T16" fmla="*/ 193 w 193"/>
                <a:gd name="T17" fmla="*/ 52 h 192"/>
                <a:gd name="T18" fmla="*/ 193 w 193"/>
                <a:gd name="T19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3" h="192">
                  <a:moveTo>
                    <a:pt x="193" y="0"/>
                  </a:moveTo>
                  <a:cubicBezTo>
                    <a:pt x="139" y="0"/>
                    <a:pt x="91" y="21"/>
                    <a:pt x="56" y="56"/>
                  </a:cubicBezTo>
                  <a:lnTo>
                    <a:pt x="56" y="56"/>
                  </a:lnTo>
                  <a:cubicBezTo>
                    <a:pt x="21" y="91"/>
                    <a:pt x="0" y="139"/>
                    <a:pt x="0" y="192"/>
                  </a:cubicBezTo>
                  <a:lnTo>
                    <a:pt x="52" y="192"/>
                  </a:lnTo>
                  <a:cubicBezTo>
                    <a:pt x="52" y="153"/>
                    <a:pt x="68" y="118"/>
                    <a:pt x="93" y="93"/>
                  </a:cubicBezTo>
                  <a:lnTo>
                    <a:pt x="93" y="93"/>
                  </a:lnTo>
                  <a:cubicBezTo>
                    <a:pt x="119" y="67"/>
                    <a:pt x="154" y="52"/>
                    <a:pt x="193" y="52"/>
                  </a:cubicBezTo>
                  <a:lnTo>
                    <a:pt x="193" y="52"/>
                  </a:lnTo>
                  <a:lnTo>
                    <a:pt x="193" y="0"/>
                  </a:lnTo>
                  <a:close/>
                </a:path>
              </a:pathLst>
            </a:custGeom>
            <a:solidFill>
              <a:srgbClr val="D9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1" name="Freeform 250"/>
            <p:cNvSpPr>
              <a:spLocks/>
            </p:cNvSpPr>
            <p:nvPr/>
          </p:nvSpPr>
          <p:spPr bwMode="auto">
            <a:xfrm>
              <a:off x="2217738" y="1741488"/>
              <a:ext cx="53975" cy="53975"/>
            </a:xfrm>
            <a:custGeom>
              <a:avLst/>
              <a:gdLst>
                <a:gd name="T0" fmla="*/ 175 w 175"/>
                <a:gd name="T1" fmla="*/ 0 h 174"/>
                <a:gd name="T2" fmla="*/ 51 w 175"/>
                <a:gd name="T3" fmla="*/ 51 h 174"/>
                <a:gd name="T4" fmla="*/ 51 w 175"/>
                <a:gd name="T5" fmla="*/ 51 h 174"/>
                <a:gd name="T6" fmla="*/ 0 w 175"/>
                <a:gd name="T7" fmla="*/ 174 h 174"/>
                <a:gd name="T8" fmla="*/ 47 w 175"/>
                <a:gd name="T9" fmla="*/ 174 h 174"/>
                <a:gd name="T10" fmla="*/ 84 w 175"/>
                <a:gd name="T11" fmla="*/ 84 h 174"/>
                <a:gd name="T12" fmla="*/ 84 w 175"/>
                <a:gd name="T13" fmla="*/ 84 h 174"/>
                <a:gd name="T14" fmla="*/ 175 w 175"/>
                <a:gd name="T15" fmla="*/ 47 h 174"/>
                <a:gd name="T16" fmla="*/ 175 w 175"/>
                <a:gd name="T17" fmla="*/ 47 h 174"/>
                <a:gd name="T18" fmla="*/ 175 w 175"/>
                <a:gd name="T19" fmla="*/ 0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5" h="174">
                  <a:moveTo>
                    <a:pt x="175" y="0"/>
                  </a:moveTo>
                  <a:cubicBezTo>
                    <a:pt x="126" y="0"/>
                    <a:pt x="83" y="19"/>
                    <a:pt x="51" y="51"/>
                  </a:cubicBezTo>
                  <a:lnTo>
                    <a:pt x="51" y="51"/>
                  </a:lnTo>
                  <a:cubicBezTo>
                    <a:pt x="20" y="83"/>
                    <a:pt x="0" y="126"/>
                    <a:pt x="0" y="174"/>
                  </a:cubicBezTo>
                  <a:lnTo>
                    <a:pt x="47" y="174"/>
                  </a:lnTo>
                  <a:cubicBezTo>
                    <a:pt x="47" y="139"/>
                    <a:pt x="61" y="107"/>
                    <a:pt x="84" y="84"/>
                  </a:cubicBezTo>
                  <a:lnTo>
                    <a:pt x="84" y="84"/>
                  </a:lnTo>
                  <a:cubicBezTo>
                    <a:pt x="107" y="61"/>
                    <a:pt x="139" y="47"/>
                    <a:pt x="175" y="47"/>
                  </a:cubicBezTo>
                  <a:lnTo>
                    <a:pt x="175" y="47"/>
                  </a:lnTo>
                  <a:lnTo>
                    <a:pt x="175" y="0"/>
                  </a:lnTo>
                  <a:close/>
                </a:path>
              </a:pathLst>
            </a:custGeom>
            <a:solidFill>
              <a:srgbClr val="9BBC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2" name="Freeform 251"/>
            <p:cNvSpPr>
              <a:spLocks/>
            </p:cNvSpPr>
            <p:nvPr/>
          </p:nvSpPr>
          <p:spPr bwMode="auto">
            <a:xfrm>
              <a:off x="2224088" y="1747838"/>
              <a:ext cx="47625" cy="47625"/>
            </a:xfrm>
            <a:custGeom>
              <a:avLst/>
              <a:gdLst>
                <a:gd name="T0" fmla="*/ 157 w 157"/>
                <a:gd name="T1" fmla="*/ 0 h 156"/>
                <a:gd name="T2" fmla="*/ 46 w 157"/>
                <a:gd name="T3" fmla="*/ 46 h 156"/>
                <a:gd name="T4" fmla="*/ 46 w 157"/>
                <a:gd name="T5" fmla="*/ 46 h 156"/>
                <a:gd name="T6" fmla="*/ 0 w 157"/>
                <a:gd name="T7" fmla="*/ 156 h 156"/>
                <a:gd name="T8" fmla="*/ 42 w 157"/>
                <a:gd name="T9" fmla="*/ 156 h 156"/>
                <a:gd name="T10" fmla="*/ 76 w 157"/>
                <a:gd name="T11" fmla="*/ 76 h 156"/>
                <a:gd name="T12" fmla="*/ 76 w 157"/>
                <a:gd name="T13" fmla="*/ 76 h 156"/>
                <a:gd name="T14" fmla="*/ 157 w 157"/>
                <a:gd name="T15" fmla="*/ 42 h 156"/>
                <a:gd name="T16" fmla="*/ 157 w 157"/>
                <a:gd name="T17" fmla="*/ 42 h 156"/>
                <a:gd name="T18" fmla="*/ 157 w 157"/>
                <a:gd name="T19" fmla="*/ 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7" h="156">
                  <a:moveTo>
                    <a:pt x="157" y="0"/>
                  </a:moveTo>
                  <a:cubicBezTo>
                    <a:pt x="113" y="0"/>
                    <a:pt x="74" y="17"/>
                    <a:pt x="46" y="46"/>
                  </a:cubicBezTo>
                  <a:lnTo>
                    <a:pt x="46" y="46"/>
                  </a:lnTo>
                  <a:cubicBezTo>
                    <a:pt x="18" y="74"/>
                    <a:pt x="0" y="113"/>
                    <a:pt x="0" y="156"/>
                  </a:cubicBezTo>
                  <a:lnTo>
                    <a:pt x="42" y="156"/>
                  </a:lnTo>
                  <a:cubicBezTo>
                    <a:pt x="42" y="125"/>
                    <a:pt x="55" y="96"/>
                    <a:pt x="76" y="76"/>
                  </a:cubicBezTo>
                  <a:lnTo>
                    <a:pt x="76" y="76"/>
                  </a:lnTo>
                  <a:cubicBezTo>
                    <a:pt x="96" y="55"/>
                    <a:pt x="125" y="42"/>
                    <a:pt x="157" y="42"/>
                  </a:cubicBezTo>
                  <a:lnTo>
                    <a:pt x="157" y="42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D9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3" name="Freeform 252"/>
            <p:cNvSpPr>
              <a:spLocks/>
            </p:cNvSpPr>
            <p:nvPr/>
          </p:nvSpPr>
          <p:spPr bwMode="auto">
            <a:xfrm>
              <a:off x="2228850" y="1752600"/>
              <a:ext cx="42863" cy="42862"/>
            </a:xfrm>
            <a:custGeom>
              <a:avLst/>
              <a:gdLst>
                <a:gd name="T0" fmla="*/ 139 w 139"/>
                <a:gd name="T1" fmla="*/ 0 h 138"/>
                <a:gd name="T2" fmla="*/ 41 w 139"/>
                <a:gd name="T3" fmla="*/ 40 h 138"/>
                <a:gd name="T4" fmla="*/ 41 w 139"/>
                <a:gd name="T5" fmla="*/ 41 h 138"/>
                <a:gd name="T6" fmla="*/ 0 w 139"/>
                <a:gd name="T7" fmla="*/ 138 h 138"/>
                <a:gd name="T8" fmla="*/ 37 w 139"/>
                <a:gd name="T9" fmla="*/ 138 h 138"/>
                <a:gd name="T10" fmla="*/ 67 w 139"/>
                <a:gd name="T11" fmla="*/ 67 h 138"/>
                <a:gd name="T12" fmla="*/ 67 w 139"/>
                <a:gd name="T13" fmla="*/ 67 h 138"/>
                <a:gd name="T14" fmla="*/ 139 w 139"/>
                <a:gd name="T15" fmla="*/ 37 h 138"/>
                <a:gd name="T16" fmla="*/ 139 w 139"/>
                <a:gd name="T17" fmla="*/ 37 h 138"/>
                <a:gd name="T18" fmla="*/ 139 w 139"/>
                <a:gd name="T19" fmla="*/ 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9" h="138">
                  <a:moveTo>
                    <a:pt x="139" y="0"/>
                  </a:moveTo>
                  <a:cubicBezTo>
                    <a:pt x="100" y="0"/>
                    <a:pt x="66" y="15"/>
                    <a:pt x="41" y="40"/>
                  </a:cubicBezTo>
                  <a:lnTo>
                    <a:pt x="41" y="41"/>
                  </a:lnTo>
                  <a:cubicBezTo>
                    <a:pt x="16" y="66"/>
                    <a:pt x="0" y="100"/>
                    <a:pt x="0" y="138"/>
                  </a:cubicBezTo>
                  <a:lnTo>
                    <a:pt x="37" y="138"/>
                  </a:lnTo>
                  <a:cubicBezTo>
                    <a:pt x="37" y="110"/>
                    <a:pt x="49" y="85"/>
                    <a:pt x="67" y="67"/>
                  </a:cubicBezTo>
                  <a:lnTo>
                    <a:pt x="67" y="67"/>
                  </a:lnTo>
                  <a:cubicBezTo>
                    <a:pt x="85" y="49"/>
                    <a:pt x="111" y="37"/>
                    <a:pt x="139" y="37"/>
                  </a:cubicBezTo>
                  <a:lnTo>
                    <a:pt x="139" y="37"/>
                  </a:lnTo>
                  <a:lnTo>
                    <a:pt x="139" y="0"/>
                  </a:lnTo>
                  <a:close/>
                </a:path>
              </a:pathLst>
            </a:custGeom>
            <a:solidFill>
              <a:srgbClr val="9BBC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4" name="Freeform 253"/>
            <p:cNvSpPr>
              <a:spLocks/>
            </p:cNvSpPr>
            <p:nvPr/>
          </p:nvSpPr>
          <p:spPr bwMode="auto">
            <a:xfrm>
              <a:off x="2235200" y="1758950"/>
              <a:ext cx="36513" cy="36512"/>
            </a:xfrm>
            <a:custGeom>
              <a:avLst/>
              <a:gdLst>
                <a:gd name="T0" fmla="*/ 121 w 121"/>
                <a:gd name="T1" fmla="*/ 0 h 120"/>
                <a:gd name="T2" fmla="*/ 35 w 121"/>
                <a:gd name="T3" fmla="*/ 35 h 120"/>
                <a:gd name="T4" fmla="*/ 35 w 121"/>
                <a:gd name="T5" fmla="*/ 35 h 120"/>
                <a:gd name="T6" fmla="*/ 0 w 121"/>
                <a:gd name="T7" fmla="*/ 120 h 120"/>
                <a:gd name="T8" fmla="*/ 33 w 121"/>
                <a:gd name="T9" fmla="*/ 120 h 120"/>
                <a:gd name="T10" fmla="*/ 58 w 121"/>
                <a:gd name="T11" fmla="*/ 58 h 120"/>
                <a:gd name="T12" fmla="*/ 58 w 121"/>
                <a:gd name="T13" fmla="*/ 58 h 120"/>
                <a:gd name="T14" fmla="*/ 121 w 121"/>
                <a:gd name="T15" fmla="*/ 32 h 120"/>
                <a:gd name="T16" fmla="*/ 121 w 121"/>
                <a:gd name="T17" fmla="*/ 32 h 120"/>
                <a:gd name="T18" fmla="*/ 121 w 121"/>
                <a:gd name="T19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1" h="120">
                  <a:moveTo>
                    <a:pt x="121" y="0"/>
                  </a:moveTo>
                  <a:cubicBezTo>
                    <a:pt x="87" y="0"/>
                    <a:pt x="57" y="13"/>
                    <a:pt x="35" y="35"/>
                  </a:cubicBezTo>
                  <a:lnTo>
                    <a:pt x="35" y="35"/>
                  </a:lnTo>
                  <a:cubicBezTo>
                    <a:pt x="14" y="57"/>
                    <a:pt x="0" y="87"/>
                    <a:pt x="0" y="120"/>
                  </a:cubicBezTo>
                  <a:lnTo>
                    <a:pt x="33" y="120"/>
                  </a:lnTo>
                  <a:cubicBezTo>
                    <a:pt x="33" y="96"/>
                    <a:pt x="43" y="74"/>
                    <a:pt x="58" y="58"/>
                  </a:cubicBezTo>
                  <a:lnTo>
                    <a:pt x="58" y="58"/>
                  </a:lnTo>
                  <a:cubicBezTo>
                    <a:pt x="74" y="42"/>
                    <a:pt x="96" y="32"/>
                    <a:pt x="121" y="32"/>
                  </a:cubicBezTo>
                  <a:lnTo>
                    <a:pt x="121" y="32"/>
                  </a:lnTo>
                  <a:lnTo>
                    <a:pt x="121" y="0"/>
                  </a:lnTo>
                  <a:close/>
                </a:path>
              </a:pathLst>
            </a:custGeom>
            <a:solidFill>
              <a:srgbClr val="D9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5" name="Freeform 254"/>
            <p:cNvSpPr>
              <a:spLocks/>
            </p:cNvSpPr>
            <p:nvPr/>
          </p:nvSpPr>
          <p:spPr bwMode="auto">
            <a:xfrm>
              <a:off x="2239963" y="1763713"/>
              <a:ext cx="31750" cy="31750"/>
            </a:xfrm>
            <a:custGeom>
              <a:avLst/>
              <a:gdLst>
                <a:gd name="T0" fmla="*/ 103 w 103"/>
                <a:gd name="T1" fmla="*/ 0 h 102"/>
                <a:gd name="T2" fmla="*/ 30 w 103"/>
                <a:gd name="T3" fmla="*/ 30 h 102"/>
                <a:gd name="T4" fmla="*/ 30 w 103"/>
                <a:gd name="T5" fmla="*/ 30 h 102"/>
                <a:gd name="T6" fmla="*/ 0 w 103"/>
                <a:gd name="T7" fmla="*/ 102 h 102"/>
                <a:gd name="T8" fmla="*/ 28 w 103"/>
                <a:gd name="T9" fmla="*/ 102 h 102"/>
                <a:gd name="T10" fmla="*/ 50 w 103"/>
                <a:gd name="T11" fmla="*/ 50 h 102"/>
                <a:gd name="T12" fmla="*/ 50 w 103"/>
                <a:gd name="T13" fmla="*/ 50 h 102"/>
                <a:gd name="T14" fmla="*/ 103 w 103"/>
                <a:gd name="T15" fmla="*/ 28 h 102"/>
                <a:gd name="T16" fmla="*/ 103 w 103"/>
                <a:gd name="T17" fmla="*/ 28 h 102"/>
                <a:gd name="T18" fmla="*/ 103 w 103"/>
                <a:gd name="T19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3" h="102">
                  <a:moveTo>
                    <a:pt x="103" y="0"/>
                  </a:moveTo>
                  <a:cubicBezTo>
                    <a:pt x="74" y="0"/>
                    <a:pt x="49" y="12"/>
                    <a:pt x="30" y="30"/>
                  </a:cubicBezTo>
                  <a:lnTo>
                    <a:pt x="30" y="30"/>
                  </a:lnTo>
                  <a:cubicBezTo>
                    <a:pt x="12" y="49"/>
                    <a:pt x="0" y="74"/>
                    <a:pt x="0" y="102"/>
                  </a:cubicBezTo>
                  <a:lnTo>
                    <a:pt x="28" y="102"/>
                  </a:lnTo>
                  <a:cubicBezTo>
                    <a:pt x="28" y="82"/>
                    <a:pt x="36" y="63"/>
                    <a:pt x="50" y="50"/>
                  </a:cubicBezTo>
                  <a:lnTo>
                    <a:pt x="50" y="50"/>
                  </a:lnTo>
                  <a:cubicBezTo>
                    <a:pt x="63" y="36"/>
                    <a:pt x="82" y="28"/>
                    <a:pt x="103" y="28"/>
                  </a:cubicBezTo>
                  <a:lnTo>
                    <a:pt x="103" y="28"/>
                  </a:lnTo>
                  <a:lnTo>
                    <a:pt x="103" y="0"/>
                  </a:lnTo>
                  <a:close/>
                </a:path>
              </a:pathLst>
            </a:custGeom>
            <a:solidFill>
              <a:srgbClr val="9BBC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6" name="Freeform 255"/>
            <p:cNvSpPr>
              <a:spLocks/>
            </p:cNvSpPr>
            <p:nvPr/>
          </p:nvSpPr>
          <p:spPr bwMode="auto">
            <a:xfrm>
              <a:off x="2246313" y="1770063"/>
              <a:ext cx="25400" cy="25400"/>
            </a:xfrm>
            <a:custGeom>
              <a:avLst/>
              <a:gdLst>
                <a:gd name="T0" fmla="*/ 85 w 85"/>
                <a:gd name="T1" fmla="*/ 0 h 84"/>
                <a:gd name="T2" fmla="*/ 25 w 85"/>
                <a:gd name="T3" fmla="*/ 25 h 84"/>
                <a:gd name="T4" fmla="*/ 25 w 85"/>
                <a:gd name="T5" fmla="*/ 25 h 84"/>
                <a:gd name="T6" fmla="*/ 0 w 85"/>
                <a:gd name="T7" fmla="*/ 84 h 84"/>
                <a:gd name="T8" fmla="*/ 23 w 85"/>
                <a:gd name="T9" fmla="*/ 84 h 84"/>
                <a:gd name="T10" fmla="*/ 41 w 85"/>
                <a:gd name="T11" fmla="*/ 41 h 84"/>
                <a:gd name="T12" fmla="*/ 41 w 85"/>
                <a:gd name="T13" fmla="*/ 41 h 84"/>
                <a:gd name="T14" fmla="*/ 85 w 85"/>
                <a:gd name="T15" fmla="*/ 23 h 84"/>
                <a:gd name="T16" fmla="*/ 85 w 85"/>
                <a:gd name="T17" fmla="*/ 23 h 84"/>
                <a:gd name="T18" fmla="*/ 85 w 85"/>
                <a:gd name="T19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5" h="84">
                  <a:moveTo>
                    <a:pt x="85" y="0"/>
                  </a:moveTo>
                  <a:cubicBezTo>
                    <a:pt x="61" y="0"/>
                    <a:pt x="40" y="10"/>
                    <a:pt x="25" y="25"/>
                  </a:cubicBezTo>
                  <a:lnTo>
                    <a:pt x="25" y="25"/>
                  </a:lnTo>
                  <a:cubicBezTo>
                    <a:pt x="10" y="40"/>
                    <a:pt x="0" y="61"/>
                    <a:pt x="0" y="84"/>
                  </a:cubicBezTo>
                  <a:lnTo>
                    <a:pt x="23" y="84"/>
                  </a:lnTo>
                  <a:cubicBezTo>
                    <a:pt x="23" y="67"/>
                    <a:pt x="30" y="52"/>
                    <a:pt x="41" y="41"/>
                  </a:cubicBezTo>
                  <a:lnTo>
                    <a:pt x="41" y="41"/>
                  </a:lnTo>
                  <a:cubicBezTo>
                    <a:pt x="52" y="30"/>
                    <a:pt x="68" y="23"/>
                    <a:pt x="85" y="23"/>
                  </a:cubicBezTo>
                  <a:lnTo>
                    <a:pt x="85" y="23"/>
                  </a:lnTo>
                  <a:lnTo>
                    <a:pt x="85" y="0"/>
                  </a:lnTo>
                  <a:close/>
                </a:path>
              </a:pathLst>
            </a:custGeom>
            <a:solidFill>
              <a:srgbClr val="D9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7" name="Freeform 256"/>
            <p:cNvSpPr>
              <a:spLocks/>
            </p:cNvSpPr>
            <p:nvPr/>
          </p:nvSpPr>
          <p:spPr bwMode="auto">
            <a:xfrm>
              <a:off x="2251075" y="1774825"/>
              <a:ext cx="20638" cy="20637"/>
            </a:xfrm>
            <a:custGeom>
              <a:avLst/>
              <a:gdLst>
                <a:gd name="T0" fmla="*/ 67 w 67"/>
                <a:gd name="T1" fmla="*/ 0 h 66"/>
                <a:gd name="T2" fmla="*/ 20 w 67"/>
                <a:gd name="T3" fmla="*/ 19 h 66"/>
                <a:gd name="T4" fmla="*/ 20 w 67"/>
                <a:gd name="T5" fmla="*/ 19 h 66"/>
                <a:gd name="T6" fmla="*/ 0 w 67"/>
                <a:gd name="T7" fmla="*/ 66 h 66"/>
                <a:gd name="T8" fmla="*/ 9 w 67"/>
                <a:gd name="T9" fmla="*/ 66 h 66"/>
                <a:gd name="T10" fmla="*/ 18 w 67"/>
                <a:gd name="T11" fmla="*/ 66 h 66"/>
                <a:gd name="T12" fmla="*/ 67 w 67"/>
                <a:gd name="T13" fmla="*/ 66 h 66"/>
                <a:gd name="T14" fmla="*/ 67 w 67"/>
                <a:gd name="T15" fmla="*/ 47 h 66"/>
                <a:gd name="T16" fmla="*/ 67 w 67"/>
                <a:gd name="T17" fmla="*/ 43 h 66"/>
                <a:gd name="T18" fmla="*/ 67 w 67"/>
                <a:gd name="T19" fmla="*/ 18 h 66"/>
                <a:gd name="T20" fmla="*/ 67 w 67"/>
                <a:gd name="T21" fmla="*/ 18 h 66"/>
                <a:gd name="T22" fmla="*/ 67 w 67"/>
                <a:gd name="T23" fmla="*/ 15 h 66"/>
                <a:gd name="T24" fmla="*/ 67 w 67"/>
                <a:gd name="T25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66">
                  <a:moveTo>
                    <a:pt x="67" y="0"/>
                  </a:moveTo>
                  <a:cubicBezTo>
                    <a:pt x="48" y="0"/>
                    <a:pt x="32" y="7"/>
                    <a:pt x="20" y="19"/>
                  </a:cubicBezTo>
                  <a:lnTo>
                    <a:pt x="20" y="19"/>
                  </a:lnTo>
                  <a:cubicBezTo>
                    <a:pt x="8" y="32"/>
                    <a:pt x="0" y="48"/>
                    <a:pt x="0" y="66"/>
                  </a:cubicBezTo>
                  <a:lnTo>
                    <a:pt x="9" y="66"/>
                  </a:lnTo>
                  <a:lnTo>
                    <a:pt x="18" y="66"/>
                  </a:lnTo>
                  <a:lnTo>
                    <a:pt x="67" y="66"/>
                  </a:lnTo>
                  <a:lnTo>
                    <a:pt x="67" y="47"/>
                  </a:lnTo>
                  <a:lnTo>
                    <a:pt x="67" y="43"/>
                  </a:lnTo>
                  <a:lnTo>
                    <a:pt x="67" y="18"/>
                  </a:lnTo>
                  <a:lnTo>
                    <a:pt x="67" y="18"/>
                  </a:lnTo>
                  <a:lnTo>
                    <a:pt x="67" y="15"/>
                  </a:lnTo>
                  <a:lnTo>
                    <a:pt x="67" y="0"/>
                  </a:lnTo>
                  <a:close/>
                </a:path>
              </a:pathLst>
            </a:custGeom>
            <a:solidFill>
              <a:srgbClr val="9BBC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8" name="Freeform 257"/>
            <p:cNvSpPr>
              <a:spLocks/>
            </p:cNvSpPr>
            <p:nvPr/>
          </p:nvSpPr>
          <p:spPr bwMode="auto">
            <a:xfrm>
              <a:off x="2257425" y="1781175"/>
              <a:ext cx="14288" cy="14287"/>
            </a:xfrm>
            <a:custGeom>
              <a:avLst/>
              <a:gdLst>
                <a:gd name="T0" fmla="*/ 49 w 49"/>
                <a:gd name="T1" fmla="*/ 0 h 48"/>
                <a:gd name="T2" fmla="*/ 14 w 49"/>
                <a:gd name="T3" fmla="*/ 14 h 48"/>
                <a:gd name="T4" fmla="*/ 14 w 49"/>
                <a:gd name="T5" fmla="*/ 14 h 48"/>
                <a:gd name="T6" fmla="*/ 0 w 49"/>
                <a:gd name="T7" fmla="*/ 48 h 48"/>
                <a:gd name="T8" fmla="*/ 7 w 49"/>
                <a:gd name="T9" fmla="*/ 48 h 48"/>
                <a:gd name="T10" fmla="*/ 13 w 49"/>
                <a:gd name="T11" fmla="*/ 48 h 48"/>
                <a:gd name="T12" fmla="*/ 49 w 49"/>
                <a:gd name="T13" fmla="*/ 48 h 48"/>
                <a:gd name="T14" fmla="*/ 49 w 49"/>
                <a:gd name="T15" fmla="*/ 34 h 48"/>
                <a:gd name="T16" fmla="*/ 49 w 49"/>
                <a:gd name="T17" fmla="*/ 31 h 48"/>
                <a:gd name="T18" fmla="*/ 49 w 49"/>
                <a:gd name="T19" fmla="*/ 13 h 48"/>
                <a:gd name="T20" fmla="*/ 49 w 49"/>
                <a:gd name="T21" fmla="*/ 13 h 48"/>
                <a:gd name="T22" fmla="*/ 49 w 49"/>
                <a:gd name="T23" fmla="*/ 11 h 48"/>
                <a:gd name="T24" fmla="*/ 49 w 49"/>
                <a:gd name="T25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48">
                  <a:moveTo>
                    <a:pt x="49" y="0"/>
                  </a:moveTo>
                  <a:cubicBezTo>
                    <a:pt x="35" y="0"/>
                    <a:pt x="23" y="5"/>
                    <a:pt x="14" y="14"/>
                  </a:cubicBezTo>
                  <a:lnTo>
                    <a:pt x="14" y="14"/>
                  </a:lnTo>
                  <a:cubicBezTo>
                    <a:pt x="6" y="23"/>
                    <a:pt x="0" y="35"/>
                    <a:pt x="0" y="48"/>
                  </a:cubicBezTo>
                  <a:lnTo>
                    <a:pt x="7" y="48"/>
                  </a:lnTo>
                  <a:lnTo>
                    <a:pt x="13" y="48"/>
                  </a:lnTo>
                  <a:lnTo>
                    <a:pt x="49" y="48"/>
                  </a:lnTo>
                  <a:lnTo>
                    <a:pt x="49" y="34"/>
                  </a:lnTo>
                  <a:lnTo>
                    <a:pt x="49" y="31"/>
                  </a:lnTo>
                  <a:lnTo>
                    <a:pt x="49" y="13"/>
                  </a:lnTo>
                  <a:lnTo>
                    <a:pt x="49" y="13"/>
                  </a:lnTo>
                  <a:lnTo>
                    <a:pt x="49" y="11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D9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9" name="Freeform 258"/>
            <p:cNvSpPr>
              <a:spLocks/>
            </p:cNvSpPr>
            <p:nvPr/>
          </p:nvSpPr>
          <p:spPr bwMode="auto">
            <a:xfrm>
              <a:off x="2262188" y="1785938"/>
              <a:ext cx="9525" cy="9525"/>
            </a:xfrm>
            <a:custGeom>
              <a:avLst/>
              <a:gdLst>
                <a:gd name="T0" fmla="*/ 31 w 31"/>
                <a:gd name="T1" fmla="*/ 0 h 30"/>
                <a:gd name="T2" fmla="*/ 9 w 31"/>
                <a:gd name="T3" fmla="*/ 9 h 30"/>
                <a:gd name="T4" fmla="*/ 9 w 31"/>
                <a:gd name="T5" fmla="*/ 9 h 30"/>
                <a:gd name="T6" fmla="*/ 0 w 31"/>
                <a:gd name="T7" fmla="*/ 30 h 30"/>
                <a:gd name="T8" fmla="*/ 31 w 31"/>
                <a:gd name="T9" fmla="*/ 30 h 30"/>
                <a:gd name="T10" fmla="*/ 31 w 31"/>
                <a:gd name="T11" fmla="*/ 22 h 30"/>
                <a:gd name="T12" fmla="*/ 31 w 31"/>
                <a:gd name="T13" fmla="*/ 20 h 30"/>
                <a:gd name="T14" fmla="*/ 31 w 31"/>
                <a:gd name="T15" fmla="*/ 8 h 30"/>
                <a:gd name="T16" fmla="*/ 31 w 31"/>
                <a:gd name="T17" fmla="*/ 8 h 30"/>
                <a:gd name="T18" fmla="*/ 31 w 31"/>
                <a:gd name="T19" fmla="*/ 7 h 30"/>
                <a:gd name="T20" fmla="*/ 31 w 31"/>
                <a:gd name="T2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" h="30">
                  <a:moveTo>
                    <a:pt x="31" y="0"/>
                  </a:moveTo>
                  <a:cubicBezTo>
                    <a:pt x="22" y="0"/>
                    <a:pt x="15" y="4"/>
                    <a:pt x="9" y="9"/>
                  </a:cubicBezTo>
                  <a:lnTo>
                    <a:pt x="9" y="9"/>
                  </a:lnTo>
                  <a:cubicBezTo>
                    <a:pt x="4" y="14"/>
                    <a:pt x="0" y="22"/>
                    <a:pt x="0" y="30"/>
                  </a:cubicBezTo>
                  <a:lnTo>
                    <a:pt x="31" y="30"/>
                  </a:lnTo>
                  <a:lnTo>
                    <a:pt x="31" y="22"/>
                  </a:lnTo>
                  <a:lnTo>
                    <a:pt x="31" y="20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1" y="7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9BBC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0" name="Freeform 259"/>
            <p:cNvSpPr>
              <a:spLocks/>
            </p:cNvSpPr>
            <p:nvPr/>
          </p:nvSpPr>
          <p:spPr bwMode="auto">
            <a:xfrm>
              <a:off x="2268538" y="1792288"/>
              <a:ext cx="3175" cy="3175"/>
            </a:xfrm>
            <a:custGeom>
              <a:avLst/>
              <a:gdLst>
                <a:gd name="T0" fmla="*/ 13 w 13"/>
                <a:gd name="T1" fmla="*/ 0 h 12"/>
                <a:gd name="T2" fmla="*/ 4 w 13"/>
                <a:gd name="T3" fmla="*/ 4 h 12"/>
                <a:gd name="T4" fmla="*/ 4 w 13"/>
                <a:gd name="T5" fmla="*/ 4 h 12"/>
                <a:gd name="T6" fmla="*/ 0 w 13"/>
                <a:gd name="T7" fmla="*/ 12 h 12"/>
                <a:gd name="T8" fmla="*/ 13 w 13"/>
                <a:gd name="T9" fmla="*/ 12 h 12"/>
                <a:gd name="T10" fmla="*/ 13 w 13"/>
                <a:gd name="T11" fmla="*/ 9 h 12"/>
                <a:gd name="T12" fmla="*/ 13 w 13"/>
                <a:gd name="T13" fmla="*/ 8 h 12"/>
                <a:gd name="T14" fmla="*/ 13 w 13"/>
                <a:gd name="T15" fmla="*/ 3 h 12"/>
                <a:gd name="T16" fmla="*/ 13 w 13"/>
                <a:gd name="T17" fmla="*/ 3 h 12"/>
                <a:gd name="T18" fmla="*/ 13 w 13"/>
                <a:gd name="T19" fmla="*/ 3 h 12"/>
                <a:gd name="T20" fmla="*/ 13 w 13"/>
                <a:gd name="T2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" h="12">
                  <a:moveTo>
                    <a:pt x="13" y="0"/>
                  </a:moveTo>
                  <a:cubicBezTo>
                    <a:pt x="9" y="0"/>
                    <a:pt x="6" y="2"/>
                    <a:pt x="4" y="4"/>
                  </a:cubicBezTo>
                  <a:lnTo>
                    <a:pt x="4" y="4"/>
                  </a:lnTo>
                  <a:cubicBezTo>
                    <a:pt x="2" y="6"/>
                    <a:pt x="0" y="9"/>
                    <a:pt x="0" y="12"/>
                  </a:cubicBezTo>
                  <a:lnTo>
                    <a:pt x="13" y="12"/>
                  </a:lnTo>
                  <a:lnTo>
                    <a:pt x="13" y="9"/>
                  </a:lnTo>
                  <a:lnTo>
                    <a:pt x="13" y="8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6F9A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1" name="Freeform 260"/>
            <p:cNvSpPr>
              <a:spLocks/>
            </p:cNvSpPr>
            <p:nvPr/>
          </p:nvSpPr>
          <p:spPr bwMode="auto">
            <a:xfrm>
              <a:off x="2130425" y="1795463"/>
              <a:ext cx="141288" cy="30162"/>
            </a:xfrm>
            <a:custGeom>
              <a:avLst/>
              <a:gdLst>
                <a:gd name="T0" fmla="*/ 0 w 458"/>
                <a:gd name="T1" fmla="*/ 0 h 100"/>
                <a:gd name="T2" fmla="*/ 458 w 458"/>
                <a:gd name="T3" fmla="*/ 0 h 100"/>
                <a:gd name="T4" fmla="*/ 458 w 458"/>
                <a:gd name="T5" fmla="*/ 50 h 100"/>
                <a:gd name="T6" fmla="*/ 404 w 458"/>
                <a:gd name="T7" fmla="*/ 100 h 100"/>
                <a:gd name="T8" fmla="*/ 54 w 458"/>
                <a:gd name="T9" fmla="*/ 100 h 100"/>
                <a:gd name="T10" fmla="*/ 0 w 458"/>
                <a:gd name="T11" fmla="*/ 50 h 100"/>
                <a:gd name="T12" fmla="*/ 0 w 458"/>
                <a:gd name="T13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8" h="100">
                  <a:moveTo>
                    <a:pt x="0" y="0"/>
                  </a:moveTo>
                  <a:lnTo>
                    <a:pt x="458" y="0"/>
                  </a:lnTo>
                  <a:lnTo>
                    <a:pt x="458" y="50"/>
                  </a:lnTo>
                  <a:cubicBezTo>
                    <a:pt x="458" y="77"/>
                    <a:pt x="433" y="100"/>
                    <a:pt x="404" y="100"/>
                  </a:cubicBezTo>
                  <a:lnTo>
                    <a:pt x="54" y="100"/>
                  </a:lnTo>
                  <a:cubicBezTo>
                    <a:pt x="24" y="100"/>
                    <a:pt x="0" y="77"/>
                    <a:pt x="0" y="5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97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2" name="Rectangle 261"/>
            <p:cNvSpPr>
              <a:spLocks noChangeArrowheads="1"/>
            </p:cNvSpPr>
            <p:nvPr/>
          </p:nvSpPr>
          <p:spPr bwMode="auto">
            <a:xfrm>
              <a:off x="1798638" y="1795463"/>
              <a:ext cx="331788" cy="14287"/>
            </a:xfrm>
            <a:prstGeom prst="rect">
              <a:avLst/>
            </a:prstGeom>
            <a:solidFill>
              <a:srgbClr val="EF75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3" name="Rectangle 262"/>
            <p:cNvSpPr>
              <a:spLocks noChangeArrowheads="1"/>
            </p:cNvSpPr>
            <p:nvPr/>
          </p:nvSpPr>
          <p:spPr bwMode="auto">
            <a:xfrm>
              <a:off x="2146300" y="1795463"/>
              <a:ext cx="111125" cy="12700"/>
            </a:xfrm>
            <a:prstGeom prst="rect">
              <a:avLst/>
            </a:prstGeom>
            <a:solidFill>
              <a:srgbClr val="79A7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4" name="Rectangle 263"/>
            <p:cNvSpPr>
              <a:spLocks noChangeArrowheads="1"/>
            </p:cNvSpPr>
            <p:nvPr/>
          </p:nvSpPr>
          <p:spPr bwMode="auto">
            <a:xfrm>
              <a:off x="2146300" y="1795463"/>
              <a:ext cx="111125" cy="6350"/>
            </a:xfrm>
            <a:prstGeom prst="rect">
              <a:avLst/>
            </a:prstGeom>
            <a:solidFill>
              <a:srgbClr val="E7F1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5" name="Freeform 264"/>
            <p:cNvSpPr>
              <a:spLocks/>
            </p:cNvSpPr>
            <p:nvPr/>
          </p:nvSpPr>
          <p:spPr bwMode="auto">
            <a:xfrm>
              <a:off x="425450" y="1206500"/>
              <a:ext cx="968375" cy="676275"/>
            </a:xfrm>
            <a:custGeom>
              <a:avLst/>
              <a:gdLst>
                <a:gd name="T0" fmla="*/ 101 w 3142"/>
                <a:gd name="T1" fmla="*/ 0 h 2200"/>
                <a:gd name="T2" fmla="*/ 3041 w 3142"/>
                <a:gd name="T3" fmla="*/ 0 h 2200"/>
                <a:gd name="T4" fmla="*/ 3142 w 3142"/>
                <a:gd name="T5" fmla="*/ 101 h 2200"/>
                <a:gd name="T6" fmla="*/ 3142 w 3142"/>
                <a:gd name="T7" fmla="*/ 2099 h 2200"/>
                <a:gd name="T8" fmla="*/ 3041 w 3142"/>
                <a:gd name="T9" fmla="*/ 2200 h 2200"/>
                <a:gd name="T10" fmla="*/ 101 w 3142"/>
                <a:gd name="T11" fmla="*/ 2200 h 2200"/>
                <a:gd name="T12" fmla="*/ 0 w 3142"/>
                <a:gd name="T13" fmla="*/ 2099 h 2200"/>
                <a:gd name="T14" fmla="*/ 0 w 3142"/>
                <a:gd name="T15" fmla="*/ 101 h 2200"/>
                <a:gd name="T16" fmla="*/ 101 w 3142"/>
                <a:gd name="T17" fmla="*/ 0 h 2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42" h="2200">
                  <a:moveTo>
                    <a:pt x="101" y="0"/>
                  </a:moveTo>
                  <a:lnTo>
                    <a:pt x="3041" y="0"/>
                  </a:lnTo>
                  <a:cubicBezTo>
                    <a:pt x="3096" y="0"/>
                    <a:pt x="3142" y="45"/>
                    <a:pt x="3142" y="101"/>
                  </a:cubicBezTo>
                  <a:lnTo>
                    <a:pt x="3142" y="2099"/>
                  </a:lnTo>
                  <a:cubicBezTo>
                    <a:pt x="3142" y="2155"/>
                    <a:pt x="3096" y="2200"/>
                    <a:pt x="3041" y="2200"/>
                  </a:cubicBezTo>
                  <a:lnTo>
                    <a:pt x="101" y="2200"/>
                  </a:lnTo>
                  <a:cubicBezTo>
                    <a:pt x="45" y="2200"/>
                    <a:pt x="0" y="2155"/>
                    <a:pt x="0" y="2099"/>
                  </a:cubicBezTo>
                  <a:lnTo>
                    <a:pt x="0" y="101"/>
                  </a:lnTo>
                  <a:cubicBezTo>
                    <a:pt x="0" y="45"/>
                    <a:pt x="45" y="0"/>
                    <a:pt x="101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6" name="Freeform 265"/>
            <p:cNvSpPr>
              <a:spLocks/>
            </p:cNvSpPr>
            <p:nvPr/>
          </p:nvSpPr>
          <p:spPr bwMode="auto">
            <a:xfrm>
              <a:off x="425450" y="1206500"/>
              <a:ext cx="827088" cy="676275"/>
            </a:xfrm>
            <a:custGeom>
              <a:avLst/>
              <a:gdLst>
                <a:gd name="T0" fmla="*/ 101 w 2685"/>
                <a:gd name="T1" fmla="*/ 0 h 2200"/>
                <a:gd name="T2" fmla="*/ 2685 w 2685"/>
                <a:gd name="T3" fmla="*/ 0 h 2200"/>
                <a:gd name="T4" fmla="*/ 484 w 2685"/>
                <a:gd name="T5" fmla="*/ 2200 h 2200"/>
                <a:gd name="T6" fmla="*/ 101 w 2685"/>
                <a:gd name="T7" fmla="*/ 2200 h 2200"/>
                <a:gd name="T8" fmla="*/ 0 w 2685"/>
                <a:gd name="T9" fmla="*/ 2099 h 2200"/>
                <a:gd name="T10" fmla="*/ 0 w 2685"/>
                <a:gd name="T11" fmla="*/ 101 h 2200"/>
                <a:gd name="T12" fmla="*/ 101 w 2685"/>
                <a:gd name="T13" fmla="*/ 0 h 2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85" h="2200">
                  <a:moveTo>
                    <a:pt x="101" y="0"/>
                  </a:moveTo>
                  <a:lnTo>
                    <a:pt x="2685" y="0"/>
                  </a:lnTo>
                  <a:lnTo>
                    <a:pt x="484" y="2200"/>
                  </a:lnTo>
                  <a:lnTo>
                    <a:pt x="101" y="2200"/>
                  </a:lnTo>
                  <a:cubicBezTo>
                    <a:pt x="45" y="2200"/>
                    <a:pt x="0" y="2155"/>
                    <a:pt x="0" y="2099"/>
                  </a:cubicBezTo>
                  <a:lnTo>
                    <a:pt x="0" y="101"/>
                  </a:lnTo>
                  <a:cubicBezTo>
                    <a:pt x="0" y="45"/>
                    <a:pt x="45" y="0"/>
                    <a:pt x="101" y="0"/>
                  </a:cubicBezTo>
                  <a:close/>
                </a:path>
              </a:pathLst>
            </a:custGeom>
            <a:solidFill>
              <a:srgbClr val="051F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7" name="Rectangle 266"/>
            <p:cNvSpPr>
              <a:spLocks noChangeArrowheads="1"/>
            </p:cNvSpPr>
            <p:nvPr/>
          </p:nvSpPr>
          <p:spPr bwMode="auto">
            <a:xfrm>
              <a:off x="469900" y="1254125"/>
              <a:ext cx="877888" cy="585787"/>
            </a:xfrm>
            <a:prstGeom prst="rect">
              <a:avLst/>
            </a:prstGeom>
            <a:solidFill>
              <a:srgbClr val="00AD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8" name="Freeform 267"/>
            <p:cNvSpPr>
              <a:spLocks/>
            </p:cNvSpPr>
            <p:nvPr/>
          </p:nvSpPr>
          <p:spPr bwMode="auto">
            <a:xfrm>
              <a:off x="252413" y="1897063"/>
              <a:ext cx="1317625" cy="25400"/>
            </a:xfrm>
            <a:custGeom>
              <a:avLst/>
              <a:gdLst>
                <a:gd name="T0" fmla="*/ 2138 w 4277"/>
                <a:gd name="T1" fmla="*/ 87 h 87"/>
                <a:gd name="T2" fmla="*/ 162 w 4277"/>
                <a:gd name="T3" fmla="*/ 87 h 87"/>
                <a:gd name="T4" fmla="*/ 0 w 4277"/>
                <a:gd name="T5" fmla="*/ 3 h 87"/>
                <a:gd name="T6" fmla="*/ 2138 w 4277"/>
                <a:gd name="T7" fmla="*/ 0 h 87"/>
                <a:gd name="T8" fmla="*/ 4277 w 4277"/>
                <a:gd name="T9" fmla="*/ 3 h 87"/>
                <a:gd name="T10" fmla="*/ 4115 w 4277"/>
                <a:gd name="T11" fmla="*/ 87 h 87"/>
                <a:gd name="T12" fmla="*/ 2138 w 4277"/>
                <a:gd name="T13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77" h="87">
                  <a:moveTo>
                    <a:pt x="2138" y="87"/>
                  </a:moveTo>
                  <a:lnTo>
                    <a:pt x="162" y="87"/>
                  </a:lnTo>
                  <a:cubicBezTo>
                    <a:pt x="83" y="87"/>
                    <a:pt x="30" y="31"/>
                    <a:pt x="0" y="3"/>
                  </a:cubicBezTo>
                  <a:lnTo>
                    <a:pt x="2138" y="0"/>
                  </a:lnTo>
                  <a:lnTo>
                    <a:pt x="4277" y="3"/>
                  </a:lnTo>
                  <a:cubicBezTo>
                    <a:pt x="4247" y="31"/>
                    <a:pt x="4194" y="87"/>
                    <a:pt x="4115" y="87"/>
                  </a:cubicBezTo>
                  <a:lnTo>
                    <a:pt x="2138" y="87"/>
                  </a:lnTo>
                  <a:close/>
                </a:path>
              </a:pathLst>
            </a:custGeom>
            <a:solidFill>
              <a:srgbClr val="354A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9" name="Freeform 268"/>
            <p:cNvSpPr>
              <a:spLocks/>
            </p:cNvSpPr>
            <p:nvPr/>
          </p:nvSpPr>
          <p:spPr bwMode="auto">
            <a:xfrm>
              <a:off x="244475" y="1870075"/>
              <a:ext cx="1331913" cy="28575"/>
            </a:xfrm>
            <a:custGeom>
              <a:avLst/>
              <a:gdLst>
                <a:gd name="T0" fmla="*/ 0 w 4325"/>
                <a:gd name="T1" fmla="*/ 0 h 93"/>
                <a:gd name="T2" fmla="*/ 4325 w 4325"/>
                <a:gd name="T3" fmla="*/ 0 h 93"/>
                <a:gd name="T4" fmla="*/ 4325 w 4325"/>
                <a:gd name="T5" fmla="*/ 46 h 93"/>
                <a:gd name="T6" fmla="*/ 4279 w 4325"/>
                <a:gd name="T7" fmla="*/ 93 h 93"/>
                <a:gd name="T8" fmla="*/ 46 w 4325"/>
                <a:gd name="T9" fmla="*/ 93 h 93"/>
                <a:gd name="T10" fmla="*/ 0 w 4325"/>
                <a:gd name="T11" fmla="*/ 46 h 93"/>
                <a:gd name="T12" fmla="*/ 0 w 4325"/>
                <a:gd name="T13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25" h="93">
                  <a:moveTo>
                    <a:pt x="0" y="0"/>
                  </a:moveTo>
                  <a:lnTo>
                    <a:pt x="4325" y="0"/>
                  </a:lnTo>
                  <a:lnTo>
                    <a:pt x="4325" y="46"/>
                  </a:lnTo>
                  <a:cubicBezTo>
                    <a:pt x="4325" y="72"/>
                    <a:pt x="4304" y="93"/>
                    <a:pt x="4279" y="93"/>
                  </a:cubicBezTo>
                  <a:lnTo>
                    <a:pt x="46" y="93"/>
                  </a:lnTo>
                  <a:cubicBezTo>
                    <a:pt x="21" y="93"/>
                    <a:pt x="0" y="72"/>
                    <a:pt x="0" y="46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D6E0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0" name="Freeform 269"/>
            <p:cNvSpPr>
              <a:spLocks/>
            </p:cNvSpPr>
            <p:nvPr/>
          </p:nvSpPr>
          <p:spPr bwMode="auto">
            <a:xfrm>
              <a:off x="819150" y="1870075"/>
              <a:ext cx="184150" cy="14287"/>
            </a:xfrm>
            <a:custGeom>
              <a:avLst/>
              <a:gdLst>
                <a:gd name="T0" fmla="*/ 599 w 599"/>
                <a:gd name="T1" fmla="*/ 0 h 43"/>
                <a:gd name="T2" fmla="*/ 585 w 599"/>
                <a:gd name="T3" fmla="*/ 29 h 43"/>
                <a:gd name="T4" fmla="*/ 584 w 599"/>
                <a:gd name="T5" fmla="*/ 29 h 43"/>
                <a:gd name="T6" fmla="*/ 584 w 599"/>
                <a:gd name="T7" fmla="*/ 29 h 43"/>
                <a:gd name="T8" fmla="*/ 550 w 599"/>
                <a:gd name="T9" fmla="*/ 43 h 43"/>
                <a:gd name="T10" fmla="*/ 49 w 599"/>
                <a:gd name="T11" fmla="*/ 43 h 43"/>
                <a:gd name="T12" fmla="*/ 14 w 599"/>
                <a:gd name="T13" fmla="*/ 29 h 43"/>
                <a:gd name="T14" fmla="*/ 14 w 599"/>
                <a:gd name="T15" fmla="*/ 29 h 43"/>
                <a:gd name="T16" fmla="*/ 0 w 599"/>
                <a:gd name="T17" fmla="*/ 0 h 43"/>
                <a:gd name="T18" fmla="*/ 12 w 599"/>
                <a:gd name="T19" fmla="*/ 0 h 43"/>
                <a:gd name="T20" fmla="*/ 22 w 599"/>
                <a:gd name="T21" fmla="*/ 20 h 43"/>
                <a:gd name="T22" fmla="*/ 22 w 599"/>
                <a:gd name="T23" fmla="*/ 20 h 43"/>
                <a:gd name="T24" fmla="*/ 49 w 599"/>
                <a:gd name="T25" fmla="*/ 31 h 43"/>
                <a:gd name="T26" fmla="*/ 550 w 599"/>
                <a:gd name="T27" fmla="*/ 31 h 43"/>
                <a:gd name="T28" fmla="*/ 576 w 599"/>
                <a:gd name="T29" fmla="*/ 21 h 43"/>
                <a:gd name="T30" fmla="*/ 576 w 599"/>
                <a:gd name="T31" fmla="*/ 21 h 43"/>
                <a:gd name="T32" fmla="*/ 576 w 599"/>
                <a:gd name="T33" fmla="*/ 20 h 43"/>
                <a:gd name="T34" fmla="*/ 587 w 599"/>
                <a:gd name="T35" fmla="*/ 0 h 43"/>
                <a:gd name="T36" fmla="*/ 599 w 599"/>
                <a:gd name="T37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99" h="43">
                  <a:moveTo>
                    <a:pt x="599" y="0"/>
                  </a:moveTo>
                  <a:cubicBezTo>
                    <a:pt x="597" y="11"/>
                    <a:pt x="592" y="21"/>
                    <a:pt x="585" y="29"/>
                  </a:cubicBezTo>
                  <a:lnTo>
                    <a:pt x="584" y="29"/>
                  </a:lnTo>
                  <a:lnTo>
                    <a:pt x="584" y="29"/>
                  </a:lnTo>
                  <a:cubicBezTo>
                    <a:pt x="575" y="38"/>
                    <a:pt x="563" y="43"/>
                    <a:pt x="550" y="43"/>
                  </a:cubicBezTo>
                  <a:lnTo>
                    <a:pt x="49" y="43"/>
                  </a:lnTo>
                  <a:cubicBezTo>
                    <a:pt x="35" y="43"/>
                    <a:pt x="23" y="38"/>
                    <a:pt x="14" y="29"/>
                  </a:cubicBezTo>
                  <a:lnTo>
                    <a:pt x="14" y="29"/>
                  </a:lnTo>
                  <a:cubicBezTo>
                    <a:pt x="7" y="21"/>
                    <a:pt x="1" y="11"/>
                    <a:pt x="0" y="0"/>
                  </a:cubicBezTo>
                  <a:lnTo>
                    <a:pt x="12" y="0"/>
                  </a:lnTo>
                  <a:cubicBezTo>
                    <a:pt x="13" y="8"/>
                    <a:pt x="17" y="15"/>
                    <a:pt x="22" y="20"/>
                  </a:cubicBezTo>
                  <a:lnTo>
                    <a:pt x="22" y="20"/>
                  </a:lnTo>
                  <a:cubicBezTo>
                    <a:pt x="29" y="27"/>
                    <a:pt x="38" y="31"/>
                    <a:pt x="49" y="31"/>
                  </a:cubicBezTo>
                  <a:lnTo>
                    <a:pt x="550" y="31"/>
                  </a:lnTo>
                  <a:cubicBezTo>
                    <a:pt x="560" y="31"/>
                    <a:pt x="569" y="27"/>
                    <a:pt x="576" y="21"/>
                  </a:cubicBezTo>
                  <a:lnTo>
                    <a:pt x="576" y="21"/>
                  </a:lnTo>
                  <a:lnTo>
                    <a:pt x="576" y="20"/>
                  </a:lnTo>
                  <a:cubicBezTo>
                    <a:pt x="582" y="15"/>
                    <a:pt x="585" y="8"/>
                    <a:pt x="587" y="0"/>
                  </a:cubicBezTo>
                  <a:lnTo>
                    <a:pt x="599" y="0"/>
                  </a:lnTo>
                  <a:close/>
                </a:path>
              </a:pathLst>
            </a:custGeom>
            <a:solidFill>
              <a:srgbClr val="89A0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1" name="Freeform 270"/>
            <p:cNvSpPr>
              <a:spLocks/>
            </p:cNvSpPr>
            <p:nvPr/>
          </p:nvSpPr>
          <p:spPr bwMode="auto">
            <a:xfrm>
              <a:off x="469900" y="1254125"/>
              <a:ext cx="733425" cy="585787"/>
            </a:xfrm>
            <a:custGeom>
              <a:avLst/>
              <a:gdLst>
                <a:gd name="T0" fmla="*/ 0 w 2381"/>
                <a:gd name="T1" fmla="*/ 1902 h 1902"/>
                <a:gd name="T2" fmla="*/ 480 w 2381"/>
                <a:gd name="T3" fmla="*/ 1902 h 1902"/>
                <a:gd name="T4" fmla="*/ 2381 w 2381"/>
                <a:gd name="T5" fmla="*/ 0 h 1902"/>
                <a:gd name="T6" fmla="*/ 0 w 2381"/>
                <a:gd name="T7" fmla="*/ 0 h 1902"/>
                <a:gd name="T8" fmla="*/ 0 w 2381"/>
                <a:gd name="T9" fmla="*/ 1902 h 1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81" h="1902">
                  <a:moveTo>
                    <a:pt x="0" y="1902"/>
                  </a:moveTo>
                  <a:lnTo>
                    <a:pt x="480" y="1902"/>
                  </a:lnTo>
                  <a:lnTo>
                    <a:pt x="2381" y="0"/>
                  </a:lnTo>
                  <a:lnTo>
                    <a:pt x="0" y="0"/>
                  </a:lnTo>
                  <a:lnTo>
                    <a:pt x="0" y="1902"/>
                  </a:lnTo>
                  <a:close/>
                </a:path>
              </a:pathLst>
            </a:custGeom>
            <a:solidFill>
              <a:srgbClr val="27D3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2" name="Freeform 271"/>
            <p:cNvSpPr>
              <a:spLocks/>
            </p:cNvSpPr>
            <p:nvPr/>
          </p:nvSpPr>
          <p:spPr bwMode="auto">
            <a:xfrm>
              <a:off x="561975" y="1020763"/>
              <a:ext cx="693738" cy="819150"/>
            </a:xfrm>
            <a:custGeom>
              <a:avLst/>
              <a:gdLst>
                <a:gd name="T0" fmla="*/ 0 w 2255"/>
                <a:gd name="T1" fmla="*/ 2660 h 2660"/>
                <a:gd name="T2" fmla="*/ 2255 w 2255"/>
                <a:gd name="T3" fmla="*/ 2660 h 2660"/>
                <a:gd name="T4" fmla="*/ 2255 w 2255"/>
                <a:gd name="T5" fmla="*/ 49 h 2660"/>
                <a:gd name="T6" fmla="*/ 2206 w 2255"/>
                <a:gd name="T7" fmla="*/ 0 h 2660"/>
                <a:gd name="T8" fmla="*/ 50 w 2255"/>
                <a:gd name="T9" fmla="*/ 0 h 2660"/>
                <a:gd name="T10" fmla="*/ 0 w 2255"/>
                <a:gd name="T11" fmla="*/ 49 h 2660"/>
                <a:gd name="T12" fmla="*/ 0 w 2255"/>
                <a:gd name="T13" fmla="*/ 2660 h 26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55" h="2660">
                  <a:moveTo>
                    <a:pt x="0" y="2660"/>
                  </a:moveTo>
                  <a:lnTo>
                    <a:pt x="2255" y="2660"/>
                  </a:lnTo>
                  <a:lnTo>
                    <a:pt x="2255" y="49"/>
                  </a:lnTo>
                  <a:cubicBezTo>
                    <a:pt x="2255" y="22"/>
                    <a:pt x="2233" y="0"/>
                    <a:pt x="2206" y="0"/>
                  </a:cubicBezTo>
                  <a:lnTo>
                    <a:pt x="50" y="0"/>
                  </a:lnTo>
                  <a:cubicBezTo>
                    <a:pt x="23" y="0"/>
                    <a:pt x="0" y="22"/>
                    <a:pt x="0" y="49"/>
                  </a:cubicBezTo>
                  <a:lnTo>
                    <a:pt x="0" y="266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3" name="Freeform 272"/>
            <p:cNvSpPr>
              <a:spLocks/>
            </p:cNvSpPr>
            <p:nvPr/>
          </p:nvSpPr>
          <p:spPr bwMode="auto">
            <a:xfrm>
              <a:off x="561975" y="1020763"/>
              <a:ext cx="693738" cy="53975"/>
            </a:xfrm>
            <a:custGeom>
              <a:avLst/>
              <a:gdLst>
                <a:gd name="T0" fmla="*/ 2255 w 2255"/>
                <a:gd name="T1" fmla="*/ 172 h 172"/>
                <a:gd name="T2" fmla="*/ 2255 w 2255"/>
                <a:gd name="T3" fmla="*/ 49 h 172"/>
                <a:gd name="T4" fmla="*/ 2206 w 2255"/>
                <a:gd name="T5" fmla="*/ 0 h 172"/>
                <a:gd name="T6" fmla="*/ 50 w 2255"/>
                <a:gd name="T7" fmla="*/ 0 h 172"/>
                <a:gd name="T8" fmla="*/ 0 w 2255"/>
                <a:gd name="T9" fmla="*/ 49 h 172"/>
                <a:gd name="T10" fmla="*/ 0 w 2255"/>
                <a:gd name="T11" fmla="*/ 172 h 172"/>
                <a:gd name="T12" fmla="*/ 2255 w 2255"/>
                <a:gd name="T1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55" h="172">
                  <a:moveTo>
                    <a:pt x="2255" y="172"/>
                  </a:moveTo>
                  <a:lnTo>
                    <a:pt x="2255" y="49"/>
                  </a:lnTo>
                  <a:cubicBezTo>
                    <a:pt x="2255" y="22"/>
                    <a:pt x="2233" y="0"/>
                    <a:pt x="2206" y="0"/>
                  </a:cubicBezTo>
                  <a:lnTo>
                    <a:pt x="50" y="0"/>
                  </a:lnTo>
                  <a:cubicBezTo>
                    <a:pt x="23" y="0"/>
                    <a:pt x="0" y="22"/>
                    <a:pt x="0" y="49"/>
                  </a:cubicBezTo>
                  <a:lnTo>
                    <a:pt x="0" y="172"/>
                  </a:lnTo>
                  <a:lnTo>
                    <a:pt x="2255" y="172"/>
                  </a:lnTo>
                  <a:close/>
                </a:path>
              </a:pathLst>
            </a:custGeom>
            <a:solidFill>
              <a:srgbClr val="4350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4" name="Freeform 273"/>
            <p:cNvSpPr>
              <a:spLocks/>
            </p:cNvSpPr>
            <p:nvPr/>
          </p:nvSpPr>
          <p:spPr bwMode="auto">
            <a:xfrm>
              <a:off x="500063" y="1254125"/>
              <a:ext cx="61913" cy="585787"/>
            </a:xfrm>
            <a:custGeom>
              <a:avLst/>
              <a:gdLst>
                <a:gd name="T0" fmla="*/ 199 w 199"/>
                <a:gd name="T1" fmla="*/ 0 h 1902"/>
                <a:gd name="T2" fmla="*/ 0 w 199"/>
                <a:gd name="T3" fmla="*/ 0 h 1902"/>
                <a:gd name="T4" fmla="*/ 199 w 199"/>
                <a:gd name="T5" fmla="*/ 1902 h 1902"/>
                <a:gd name="T6" fmla="*/ 199 w 199"/>
                <a:gd name="T7" fmla="*/ 0 h 1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9" h="1902">
                  <a:moveTo>
                    <a:pt x="199" y="0"/>
                  </a:moveTo>
                  <a:lnTo>
                    <a:pt x="0" y="0"/>
                  </a:lnTo>
                  <a:lnTo>
                    <a:pt x="199" y="1902"/>
                  </a:lnTo>
                  <a:lnTo>
                    <a:pt x="199" y="0"/>
                  </a:lnTo>
                  <a:close/>
                </a:path>
              </a:pathLst>
            </a:custGeom>
            <a:solidFill>
              <a:srgbClr val="00AD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5" name="Freeform 274"/>
            <p:cNvSpPr>
              <a:spLocks/>
            </p:cNvSpPr>
            <p:nvPr/>
          </p:nvSpPr>
          <p:spPr bwMode="auto">
            <a:xfrm>
              <a:off x="1255713" y="1254125"/>
              <a:ext cx="61913" cy="585787"/>
            </a:xfrm>
            <a:custGeom>
              <a:avLst/>
              <a:gdLst>
                <a:gd name="T0" fmla="*/ 0 w 200"/>
                <a:gd name="T1" fmla="*/ 0 h 1902"/>
                <a:gd name="T2" fmla="*/ 200 w 200"/>
                <a:gd name="T3" fmla="*/ 0 h 1902"/>
                <a:gd name="T4" fmla="*/ 0 w 200"/>
                <a:gd name="T5" fmla="*/ 1902 h 1902"/>
                <a:gd name="T6" fmla="*/ 0 w 200"/>
                <a:gd name="T7" fmla="*/ 0 h 1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0" h="1902">
                  <a:moveTo>
                    <a:pt x="0" y="0"/>
                  </a:moveTo>
                  <a:lnTo>
                    <a:pt x="200" y="0"/>
                  </a:lnTo>
                  <a:lnTo>
                    <a:pt x="0" y="190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97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6" name="Oval 275"/>
            <p:cNvSpPr>
              <a:spLocks noChangeArrowheads="1"/>
            </p:cNvSpPr>
            <p:nvPr/>
          </p:nvSpPr>
          <p:spPr bwMode="auto">
            <a:xfrm>
              <a:off x="587375" y="1039813"/>
              <a:ext cx="14288" cy="15875"/>
            </a:xfrm>
            <a:prstGeom prst="ellipse">
              <a:avLst/>
            </a:prstGeom>
            <a:solidFill>
              <a:srgbClr val="EF75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7" name="Oval 276"/>
            <p:cNvSpPr>
              <a:spLocks noChangeArrowheads="1"/>
            </p:cNvSpPr>
            <p:nvPr/>
          </p:nvSpPr>
          <p:spPr bwMode="auto">
            <a:xfrm>
              <a:off x="615950" y="1039813"/>
              <a:ext cx="15875" cy="15875"/>
            </a:xfrm>
            <a:prstGeom prst="ellipse">
              <a:avLst/>
            </a:prstGeom>
            <a:solidFill>
              <a:srgbClr val="00AD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8" name="Oval 277"/>
            <p:cNvSpPr>
              <a:spLocks noChangeArrowheads="1"/>
            </p:cNvSpPr>
            <p:nvPr/>
          </p:nvSpPr>
          <p:spPr bwMode="auto">
            <a:xfrm>
              <a:off x="646113" y="1039813"/>
              <a:ext cx="14288" cy="15875"/>
            </a:xfrm>
            <a:prstGeom prst="ellipse">
              <a:avLst/>
            </a:prstGeom>
            <a:solidFill>
              <a:srgbClr val="92AC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9" name="Rectangle 278"/>
            <p:cNvSpPr>
              <a:spLocks noChangeArrowheads="1"/>
            </p:cNvSpPr>
            <p:nvPr/>
          </p:nvSpPr>
          <p:spPr bwMode="auto">
            <a:xfrm>
              <a:off x="692150" y="1038225"/>
              <a:ext cx="531813" cy="1905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0" name="Rectangle 279"/>
            <p:cNvSpPr>
              <a:spLocks noChangeArrowheads="1"/>
            </p:cNvSpPr>
            <p:nvPr/>
          </p:nvSpPr>
          <p:spPr bwMode="auto">
            <a:xfrm>
              <a:off x="650875" y="1735138"/>
              <a:ext cx="517525" cy="6350"/>
            </a:xfrm>
            <a:prstGeom prst="rect">
              <a:avLst/>
            </a:prstGeom>
            <a:solidFill>
              <a:srgbClr val="AECB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1" name="Rectangle 280"/>
            <p:cNvSpPr>
              <a:spLocks noChangeArrowheads="1"/>
            </p:cNvSpPr>
            <p:nvPr/>
          </p:nvSpPr>
          <p:spPr bwMode="auto">
            <a:xfrm>
              <a:off x="650875" y="1689100"/>
              <a:ext cx="517525" cy="6350"/>
            </a:xfrm>
            <a:prstGeom prst="rect">
              <a:avLst/>
            </a:prstGeom>
            <a:solidFill>
              <a:srgbClr val="AECB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2" name="Rectangle 281"/>
            <p:cNvSpPr>
              <a:spLocks noChangeArrowheads="1"/>
            </p:cNvSpPr>
            <p:nvPr/>
          </p:nvSpPr>
          <p:spPr bwMode="auto">
            <a:xfrm>
              <a:off x="650875" y="1643063"/>
              <a:ext cx="517525" cy="6350"/>
            </a:xfrm>
            <a:prstGeom prst="rect">
              <a:avLst/>
            </a:prstGeom>
            <a:solidFill>
              <a:srgbClr val="AECB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3" name="Rectangle 282"/>
            <p:cNvSpPr>
              <a:spLocks noChangeArrowheads="1"/>
            </p:cNvSpPr>
            <p:nvPr/>
          </p:nvSpPr>
          <p:spPr bwMode="auto">
            <a:xfrm>
              <a:off x="650875" y="1598613"/>
              <a:ext cx="517525" cy="6350"/>
            </a:xfrm>
            <a:prstGeom prst="rect">
              <a:avLst/>
            </a:prstGeom>
            <a:solidFill>
              <a:srgbClr val="AECB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4" name="Rectangle 283"/>
            <p:cNvSpPr>
              <a:spLocks noChangeArrowheads="1"/>
            </p:cNvSpPr>
            <p:nvPr/>
          </p:nvSpPr>
          <p:spPr bwMode="auto">
            <a:xfrm>
              <a:off x="650875" y="1174750"/>
              <a:ext cx="517525" cy="6350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5" name="Rectangle 284"/>
            <p:cNvSpPr>
              <a:spLocks noChangeArrowheads="1"/>
            </p:cNvSpPr>
            <p:nvPr/>
          </p:nvSpPr>
          <p:spPr bwMode="auto">
            <a:xfrm>
              <a:off x="650875" y="1116013"/>
              <a:ext cx="517525" cy="31750"/>
            </a:xfrm>
            <a:prstGeom prst="rect">
              <a:avLst/>
            </a:prstGeom>
            <a:solidFill>
              <a:srgbClr val="EF75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6" name="Rectangle 285"/>
            <p:cNvSpPr>
              <a:spLocks noChangeArrowheads="1"/>
            </p:cNvSpPr>
            <p:nvPr/>
          </p:nvSpPr>
          <p:spPr bwMode="auto">
            <a:xfrm>
              <a:off x="652463" y="1597025"/>
              <a:ext cx="515938" cy="6350"/>
            </a:xfrm>
            <a:prstGeom prst="rect">
              <a:avLst/>
            </a:prstGeom>
            <a:solidFill>
              <a:srgbClr val="AECB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7" name="Rectangle 286"/>
            <p:cNvSpPr>
              <a:spLocks noChangeArrowheads="1"/>
            </p:cNvSpPr>
            <p:nvPr/>
          </p:nvSpPr>
          <p:spPr bwMode="auto">
            <a:xfrm>
              <a:off x="652463" y="1174750"/>
              <a:ext cx="515938" cy="6350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04" name="Rectangle 287"/>
            <p:cNvSpPr>
              <a:spLocks noChangeArrowheads="1"/>
            </p:cNvSpPr>
            <p:nvPr/>
          </p:nvSpPr>
          <p:spPr bwMode="auto">
            <a:xfrm>
              <a:off x="652463" y="1116013"/>
              <a:ext cx="515938" cy="31750"/>
            </a:xfrm>
            <a:prstGeom prst="rect">
              <a:avLst/>
            </a:prstGeom>
            <a:solidFill>
              <a:srgbClr val="EF75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05" name="Freeform 288"/>
            <p:cNvSpPr>
              <a:spLocks/>
            </p:cNvSpPr>
            <p:nvPr/>
          </p:nvSpPr>
          <p:spPr bwMode="auto">
            <a:xfrm>
              <a:off x="1031875" y="1227138"/>
              <a:ext cx="63500" cy="117475"/>
            </a:xfrm>
            <a:custGeom>
              <a:avLst/>
              <a:gdLst>
                <a:gd name="T0" fmla="*/ 69 w 206"/>
                <a:gd name="T1" fmla="*/ 381 h 381"/>
                <a:gd name="T2" fmla="*/ 0 w 206"/>
                <a:gd name="T3" fmla="*/ 220 h 381"/>
                <a:gd name="T4" fmla="*/ 206 w 206"/>
                <a:gd name="T5" fmla="*/ 0 h 381"/>
                <a:gd name="T6" fmla="*/ 206 w 206"/>
                <a:gd name="T7" fmla="*/ 98 h 381"/>
                <a:gd name="T8" fmla="*/ 98 w 206"/>
                <a:gd name="T9" fmla="*/ 220 h 381"/>
                <a:gd name="T10" fmla="*/ 132 w 206"/>
                <a:gd name="T11" fmla="*/ 305 h 381"/>
                <a:gd name="T12" fmla="*/ 69 w 206"/>
                <a:gd name="T13" fmla="*/ 381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6" h="381">
                  <a:moveTo>
                    <a:pt x="69" y="381"/>
                  </a:moveTo>
                  <a:cubicBezTo>
                    <a:pt x="26" y="341"/>
                    <a:pt x="0" y="283"/>
                    <a:pt x="0" y="220"/>
                  </a:cubicBezTo>
                  <a:cubicBezTo>
                    <a:pt x="0" y="103"/>
                    <a:pt x="91" y="7"/>
                    <a:pt x="206" y="0"/>
                  </a:cubicBezTo>
                  <a:lnTo>
                    <a:pt x="206" y="98"/>
                  </a:lnTo>
                  <a:cubicBezTo>
                    <a:pt x="145" y="105"/>
                    <a:pt x="98" y="157"/>
                    <a:pt x="98" y="220"/>
                  </a:cubicBezTo>
                  <a:cubicBezTo>
                    <a:pt x="98" y="253"/>
                    <a:pt x="110" y="283"/>
                    <a:pt x="132" y="305"/>
                  </a:cubicBezTo>
                  <a:lnTo>
                    <a:pt x="69" y="381"/>
                  </a:lnTo>
                  <a:close/>
                </a:path>
              </a:pathLst>
            </a:custGeom>
            <a:solidFill>
              <a:srgbClr val="6C87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09" name="Freeform 289"/>
            <p:cNvSpPr>
              <a:spLocks/>
            </p:cNvSpPr>
            <p:nvPr/>
          </p:nvSpPr>
          <p:spPr bwMode="auto">
            <a:xfrm>
              <a:off x="1111250" y="1284288"/>
              <a:ext cx="57150" cy="76200"/>
            </a:xfrm>
            <a:custGeom>
              <a:avLst/>
              <a:gdLst>
                <a:gd name="T0" fmla="*/ 183 w 185"/>
                <a:gd name="T1" fmla="*/ 0 h 246"/>
                <a:gd name="T2" fmla="*/ 185 w 185"/>
                <a:gd name="T3" fmla="*/ 32 h 246"/>
                <a:gd name="T4" fmla="*/ 17 w 185"/>
                <a:gd name="T5" fmla="*/ 246 h 246"/>
                <a:gd name="T6" fmla="*/ 0 w 185"/>
                <a:gd name="T7" fmla="*/ 149 h 246"/>
                <a:gd name="T8" fmla="*/ 87 w 185"/>
                <a:gd name="T9" fmla="*/ 32 h 246"/>
                <a:gd name="T10" fmla="*/ 87 w 185"/>
                <a:gd name="T11" fmla="*/ 21 h 246"/>
                <a:gd name="T12" fmla="*/ 183 w 185"/>
                <a:gd name="T13" fmla="*/ 0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5" h="246">
                  <a:moveTo>
                    <a:pt x="183" y="0"/>
                  </a:moveTo>
                  <a:cubicBezTo>
                    <a:pt x="184" y="10"/>
                    <a:pt x="185" y="21"/>
                    <a:pt x="185" y="32"/>
                  </a:cubicBezTo>
                  <a:cubicBezTo>
                    <a:pt x="185" y="136"/>
                    <a:pt x="114" y="223"/>
                    <a:pt x="17" y="246"/>
                  </a:cubicBezTo>
                  <a:lnTo>
                    <a:pt x="0" y="149"/>
                  </a:lnTo>
                  <a:cubicBezTo>
                    <a:pt x="50" y="134"/>
                    <a:pt x="87" y="87"/>
                    <a:pt x="87" y="32"/>
                  </a:cubicBezTo>
                  <a:cubicBezTo>
                    <a:pt x="87" y="28"/>
                    <a:pt x="87" y="24"/>
                    <a:pt x="87" y="21"/>
                  </a:cubicBezTo>
                  <a:lnTo>
                    <a:pt x="183" y="0"/>
                  </a:lnTo>
                  <a:close/>
                </a:path>
              </a:pathLst>
            </a:custGeom>
            <a:solidFill>
              <a:srgbClr val="3039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10" name="Freeform 290"/>
            <p:cNvSpPr>
              <a:spLocks/>
            </p:cNvSpPr>
            <p:nvPr/>
          </p:nvSpPr>
          <p:spPr bwMode="auto">
            <a:xfrm>
              <a:off x="1060450" y="1327150"/>
              <a:ext cx="46038" cy="34925"/>
            </a:xfrm>
            <a:custGeom>
              <a:avLst/>
              <a:gdLst>
                <a:gd name="T0" fmla="*/ 152 w 152"/>
                <a:gd name="T1" fmla="*/ 115 h 117"/>
                <a:gd name="T2" fmla="*/ 128 w 152"/>
                <a:gd name="T3" fmla="*/ 117 h 117"/>
                <a:gd name="T4" fmla="*/ 0 w 152"/>
                <a:gd name="T5" fmla="*/ 75 h 117"/>
                <a:gd name="T6" fmla="*/ 62 w 152"/>
                <a:gd name="T7" fmla="*/ 0 h 117"/>
                <a:gd name="T8" fmla="*/ 128 w 152"/>
                <a:gd name="T9" fmla="*/ 19 h 117"/>
                <a:gd name="T10" fmla="*/ 135 w 152"/>
                <a:gd name="T11" fmla="*/ 19 h 117"/>
                <a:gd name="T12" fmla="*/ 152 w 152"/>
                <a:gd name="T13" fmla="*/ 115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2" h="117">
                  <a:moveTo>
                    <a:pt x="152" y="115"/>
                  </a:moveTo>
                  <a:cubicBezTo>
                    <a:pt x="144" y="116"/>
                    <a:pt x="136" y="117"/>
                    <a:pt x="128" y="117"/>
                  </a:cubicBezTo>
                  <a:cubicBezTo>
                    <a:pt x="80" y="117"/>
                    <a:pt x="36" y="101"/>
                    <a:pt x="0" y="75"/>
                  </a:cubicBezTo>
                  <a:lnTo>
                    <a:pt x="62" y="0"/>
                  </a:lnTo>
                  <a:cubicBezTo>
                    <a:pt x="81" y="12"/>
                    <a:pt x="104" y="19"/>
                    <a:pt x="128" y="19"/>
                  </a:cubicBezTo>
                  <a:cubicBezTo>
                    <a:pt x="131" y="19"/>
                    <a:pt x="133" y="19"/>
                    <a:pt x="135" y="19"/>
                  </a:cubicBezTo>
                  <a:lnTo>
                    <a:pt x="152" y="115"/>
                  </a:lnTo>
                  <a:close/>
                </a:path>
              </a:pathLst>
            </a:custGeom>
            <a:solidFill>
              <a:srgbClr val="2184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11" name="Freeform 291"/>
            <p:cNvSpPr>
              <a:spLocks/>
            </p:cNvSpPr>
            <p:nvPr/>
          </p:nvSpPr>
          <p:spPr bwMode="auto">
            <a:xfrm>
              <a:off x="1104900" y="1227138"/>
              <a:ext cx="60325" cy="55562"/>
            </a:xfrm>
            <a:custGeom>
              <a:avLst/>
              <a:gdLst>
                <a:gd name="T0" fmla="*/ 0 w 197"/>
                <a:gd name="T1" fmla="*/ 98 h 180"/>
                <a:gd name="T2" fmla="*/ 101 w 197"/>
                <a:gd name="T3" fmla="*/ 180 h 180"/>
                <a:gd name="T4" fmla="*/ 197 w 197"/>
                <a:gd name="T5" fmla="*/ 159 h 180"/>
                <a:gd name="T6" fmla="*/ 0 w 197"/>
                <a:gd name="T7" fmla="*/ 0 h 180"/>
                <a:gd name="T8" fmla="*/ 0 w 197"/>
                <a:gd name="T9" fmla="*/ 98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7" h="180">
                  <a:moveTo>
                    <a:pt x="0" y="98"/>
                  </a:moveTo>
                  <a:cubicBezTo>
                    <a:pt x="47" y="104"/>
                    <a:pt x="86" y="136"/>
                    <a:pt x="101" y="180"/>
                  </a:cubicBezTo>
                  <a:lnTo>
                    <a:pt x="197" y="159"/>
                  </a:lnTo>
                  <a:cubicBezTo>
                    <a:pt x="172" y="71"/>
                    <a:pt x="94" y="6"/>
                    <a:pt x="0" y="0"/>
                  </a:cubicBezTo>
                  <a:lnTo>
                    <a:pt x="0" y="98"/>
                  </a:lnTo>
                  <a:close/>
                </a:path>
              </a:pathLst>
            </a:custGeom>
            <a:solidFill>
              <a:srgbClr val="27D3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12" name="Freeform 292"/>
            <p:cNvSpPr>
              <a:spLocks/>
            </p:cNvSpPr>
            <p:nvPr/>
          </p:nvSpPr>
          <p:spPr bwMode="auto">
            <a:xfrm>
              <a:off x="1033463" y="1408113"/>
              <a:ext cx="63500" cy="117475"/>
            </a:xfrm>
            <a:custGeom>
              <a:avLst/>
              <a:gdLst>
                <a:gd name="T0" fmla="*/ 69 w 206"/>
                <a:gd name="T1" fmla="*/ 381 h 381"/>
                <a:gd name="T2" fmla="*/ 0 w 206"/>
                <a:gd name="T3" fmla="*/ 220 h 381"/>
                <a:gd name="T4" fmla="*/ 206 w 206"/>
                <a:gd name="T5" fmla="*/ 0 h 381"/>
                <a:gd name="T6" fmla="*/ 206 w 206"/>
                <a:gd name="T7" fmla="*/ 98 h 381"/>
                <a:gd name="T8" fmla="*/ 98 w 206"/>
                <a:gd name="T9" fmla="*/ 220 h 381"/>
                <a:gd name="T10" fmla="*/ 132 w 206"/>
                <a:gd name="T11" fmla="*/ 305 h 381"/>
                <a:gd name="T12" fmla="*/ 69 w 206"/>
                <a:gd name="T13" fmla="*/ 381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6" h="381">
                  <a:moveTo>
                    <a:pt x="69" y="381"/>
                  </a:moveTo>
                  <a:cubicBezTo>
                    <a:pt x="26" y="341"/>
                    <a:pt x="0" y="284"/>
                    <a:pt x="0" y="220"/>
                  </a:cubicBezTo>
                  <a:cubicBezTo>
                    <a:pt x="0" y="103"/>
                    <a:pt x="91" y="8"/>
                    <a:pt x="206" y="0"/>
                  </a:cubicBezTo>
                  <a:lnTo>
                    <a:pt x="206" y="98"/>
                  </a:lnTo>
                  <a:cubicBezTo>
                    <a:pt x="145" y="106"/>
                    <a:pt x="98" y="158"/>
                    <a:pt x="98" y="220"/>
                  </a:cubicBezTo>
                  <a:cubicBezTo>
                    <a:pt x="98" y="253"/>
                    <a:pt x="110" y="283"/>
                    <a:pt x="132" y="305"/>
                  </a:cubicBezTo>
                  <a:lnTo>
                    <a:pt x="69" y="381"/>
                  </a:lnTo>
                  <a:close/>
                </a:path>
              </a:pathLst>
            </a:custGeom>
            <a:solidFill>
              <a:srgbClr val="6984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13" name="Freeform 293"/>
            <p:cNvSpPr>
              <a:spLocks/>
            </p:cNvSpPr>
            <p:nvPr/>
          </p:nvSpPr>
          <p:spPr bwMode="auto">
            <a:xfrm>
              <a:off x="1112838" y="1465263"/>
              <a:ext cx="57150" cy="76200"/>
            </a:xfrm>
            <a:custGeom>
              <a:avLst/>
              <a:gdLst>
                <a:gd name="T0" fmla="*/ 183 w 185"/>
                <a:gd name="T1" fmla="*/ 0 h 247"/>
                <a:gd name="T2" fmla="*/ 185 w 185"/>
                <a:gd name="T3" fmla="*/ 32 h 247"/>
                <a:gd name="T4" fmla="*/ 17 w 185"/>
                <a:gd name="T5" fmla="*/ 247 h 247"/>
                <a:gd name="T6" fmla="*/ 0 w 185"/>
                <a:gd name="T7" fmla="*/ 150 h 247"/>
                <a:gd name="T8" fmla="*/ 87 w 185"/>
                <a:gd name="T9" fmla="*/ 32 h 247"/>
                <a:gd name="T10" fmla="*/ 87 w 185"/>
                <a:gd name="T11" fmla="*/ 21 h 247"/>
                <a:gd name="T12" fmla="*/ 183 w 185"/>
                <a:gd name="T13" fmla="*/ 0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5" h="247">
                  <a:moveTo>
                    <a:pt x="183" y="0"/>
                  </a:moveTo>
                  <a:cubicBezTo>
                    <a:pt x="184" y="11"/>
                    <a:pt x="185" y="21"/>
                    <a:pt x="185" y="32"/>
                  </a:cubicBezTo>
                  <a:cubicBezTo>
                    <a:pt x="185" y="136"/>
                    <a:pt x="114" y="223"/>
                    <a:pt x="17" y="247"/>
                  </a:cubicBezTo>
                  <a:lnTo>
                    <a:pt x="0" y="150"/>
                  </a:lnTo>
                  <a:cubicBezTo>
                    <a:pt x="50" y="134"/>
                    <a:pt x="87" y="88"/>
                    <a:pt x="87" y="32"/>
                  </a:cubicBezTo>
                  <a:cubicBezTo>
                    <a:pt x="87" y="29"/>
                    <a:pt x="87" y="25"/>
                    <a:pt x="87" y="21"/>
                  </a:cubicBezTo>
                  <a:lnTo>
                    <a:pt x="183" y="0"/>
                  </a:lnTo>
                  <a:close/>
                </a:path>
              </a:pathLst>
            </a:custGeom>
            <a:solidFill>
              <a:srgbClr val="5367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14" name="Freeform 294"/>
            <p:cNvSpPr>
              <a:spLocks/>
            </p:cNvSpPr>
            <p:nvPr/>
          </p:nvSpPr>
          <p:spPr bwMode="auto">
            <a:xfrm>
              <a:off x="1062038" y="1506538"/>
              <a:ext cx="46038" cy="36512"/>
            </a:xfrm>
            <a:custGeom>
              <a:avLst/>
              <a:gdLst>
                <a:gd name="T0" fmla="*/ 152 w 152"/>
                <a:gd name="T1" fmla="*/ 116 h 117"/>
                <a:gd name="T2" fmla="*/ 128 w 152"/>
                <a:gd name="T3" fmla="*/ 117 h 117"/>
                <a:gd name="T4" fmla="*/ 0 w 152"/>
                <a:gd name="T5" fmla="*/ 76 h 117"/>
                <a:gd name="T6" fmla="*/ 62 w 152"/>
                <a:gd name="T7" fmla="*/ 0 h 117"/>
                <a:gd name="T8" fmla="*/ 128 w 152"/>
                <a:gd name="T9" fmla="*/ 19 h 117"/>
                <a:gd name="T10" fmla="*/ 135 w 152"/>
                <a:gd name="T11" fmla="*/ 19 h 117"/>
                <a:gd name="T12" fmla="*/ 152 w 152"/>
                <a:gd name="T13" fmla="*/ 116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2" h="117">
                  <a:moveTo>
                    <a:pt x="152" y="116"/>
                  </a:moveTo>
                  <a:cubicBezTo>
                    <a:pt x="144" y="117"/>
                    <a:pt x="136" y="117"/>
                    <a:pt x="128" y="117"/>
                  </a:cubicBezTo>
                  <a:cubicBezTo>
                    <a:pt x="80" y="117"/>
                    <a:pt x="36" y="102"/>
                    <a:pt x="0" y="76"/>
                  </a:cubicBezTo>
                  <a:lnTo>
                    <a:pt x="62" y="0"/>
                  </a:lnTo>
                  <a:cubicBezTo>
                    <a:pt x="81" y="12"/>
                    <a:pt x="104" y="19"/>
                    <a:pt x="128" y="19"/>
                  </a:cubicBezTo>
                  <a:cubicBezTo>
                    <a:pt x="131" y="19"/>
                    <a:pt x="133" y="19"/>
                    <a:pt x="135" y="19"/>
                  </a:cubicBezTo>
                  <a:lnTo>
                    <a:pt x="152" y="116"/>
                  </a:lnTo>
                  <a:close/>
                </a:path>
              </a:pathLst>
            </a:custGeom>
            <a:solidFill>
              <a:srgbClr val="4D8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15" name="Freeform 295"/>
            <p:cNvSpPr>
              <a:spLocks/>
            </p:cNvSpPr>
            <p:nvPr/>
          </p:nvSpPr>
          <p:spPr bwMode="auto">
            <a:xfrm>
              <a:off x="1106488" y="1408113"/>
              <a:ext cx="60325" cy="55562"/>
            </a:xfrm>
            <a:custGeom>
              <a:avLst/>
              <a:gdLst>
                <a:gd name="T0" fmla="*/ 0 w 197"/>
                <a:gd name="T1" fmla="*/ 98 h 180"/>
                <a:gd name="T2" fmla="*/ 101 w 197"/>
                <a:gd name="T3" fmla="*/ 180 h 180"/>
                <a:gd name="T4" fmla="*/ 197 w 197"/>
                <a:gd name="T5" fmla="*/ 160 h 180"/>
                <a:gd name="T6" fmla="*/ 0 w 197"/>
                <a:gd name="T7" fmla="*/ 0 h 180"/>
                <a:gd name="T8" fmla="*/ 0 w 197"/>
                <a:gd name="T9" fmla="*/ 98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7" h="180">
                  <a:moveTo>
                    <a:pt x="0" y="98"/>
                  </a:moveTo>
                  <a:cubicBezTo>
                    <a:pt x="47" y="104"/>
                    <a:pt x="86" y="137"/>
                    <a:pt x="101" y="180"/>
                  </a:cubicBezTo>
                  <a:lnTo>
                    <a:pt x="197" y="160"/>
                  </a:lnTo>
                  <a:cubicBezTo>
                    <a:pt x="172" y="72"/>
                    <a:pt x="94" y="6"/>
                    <a:pt x="0" y="0"/>
                  </a:cubicBezTo>
                  <a:lnTo>
                    <a:pt x="0" y="98"/>
                  </a:lnTo>
                  <a:close/>
                </a:path>
              </a:pathLst>
            </a:custGeom>
            <a:solidFill>
              <a:srgbClr val="4FA0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16" name="Rectangle 296"/>
            <p:cNvSpPr>
              <a:spLocks noChangeArrowheads="1"/>
            </p:cNvSpPr>
            <p:nvPr/>
          </p:nvSpPr>
          <p:spPr bwMode="auto">
            <a:xfrm>
              <a:off x="661988" y="1358900"/>
              <a:ext cx="22225" cy="184150"/>
            </a:xfrm>
            <a:prstGeom prst="rect">
              <a:avLst/>
            </a:prstGeom>
            <a:solidFill>
              <a:srgbClr val="F4AB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17" name="Rectangle 297"/>
            <p:cNvSpPr>
              <a:spLocks noChangeArrowheads="1"/>
            </p:cNvSpPr>
            <p:nvPr/>
          </p:nvSpPr>
          <p:spPr bwMode="auto">
            <a:xfrm>
              <a:off x="706438" y="1411288"/>
              <a:ext cx="22225" cy="131762"/>
            </a:xfrm>
            <a:prstGeom prst="rect">
              <a:avLst/>
            </a:prstGeom>
            <a:solidFill>
              <a:srgbClr val="F4AB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18" name="Rectangle 298"/>
            <p:cNvSpPr>
              <a:spLocks noChangeArrowheads="1"/>
            </p:cNvSpPr>
            <p:nvPr/>
          </p:nvSpPr>
          <p:spPr bwMode="auto">
            <a:xfrm>
              <a:off x="749300" y="1320800"/>
              <a:ext cx="22225" cy="222250"/>
            </a:xfrm>
            <a:prstGeom prst="rect">
              <a:avLst/>
            </a:prstGeom>
            <a:solidFill>
              <a:srgbClr val="F4AB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19" name="Rectangle 299"/>
            <p:cNvSpPr>
              <a:spLocks noChangeArrowheads="1"/>
            </p:cNvSpPr>
            <p:nvPr/>
          </p:nvSpPr>
          <p:spPr bwMode="auto">
            <a:xfrm>
              <a:off x="793750" y="1358900"/>
              <a:ext cx="22225" cy="184150"/>
            </a:xfrm>
            <a:prstGeom prst="rect">
              <a:avLst/>
            </a:prstGeom>
            <a:solidFill>
              <a:srgbClr val="F4AB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20" name="Rectangle 300"/>
            <p:cNvSpPr>
              <a:spLocks noChangeArrowheads="1"/>
            </p:cNvSpPr>
            <p:nvPr/>
          </p:nvSpPr>
          <p:spPr bwMode="auto">
            <a:xfrm>
              <a:off x="838200" y="1343025"/>
              <a:ext cx="22225" cy="200025"/>
            </a:xfrm>
            <a:prstGeom prst="rect">
              <a:avLst/>
            </a:prstGeom>
            <a:solidFill>
              <a:srgbClr val="F4AB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21" name="Rectangle 301"/>
            <p:cNvSpPr>
              <a:spLocks noChangeArrowheads="1"/>
            </p:cNvSpPr>
            <p:nvPr/>
          </p:nvSpPr>
          <p:spPr bwMode="auto">
            <a:xfrm>
              <a:off x="882650" y="1317625"/>
              <a:ext cx="20638" cy="225425"/>
            </a:xfrm>
            <a:prstGeom prst="rect">
              <a:avLst/>
            </a:prstGeom>
            <a:solidFill>
              <a:srgbClr val="F4AB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22" name="Rectangle 302"/>
            <p:cNvSpPr>
              <a:spLocks noChangeArrowheads="1"/>
            </p:cNvSpPr>
            <p:nvPr/>
          </p:nvSpPr>
          <p:spPr bwMode="auto">
            <a:xfrm>
              <a:off x="925513" y="1227138"/>
              <a:ext cx="22225" cy="315912"/>
            </a:xfrm>
            <a:prstGeom prst="rect">
              <a:avLst/>
            </a:prstGeom>
            <a:solidFill>
              <a:srgbClr val="F4AB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23" name="Rectangle 303"/>
            <p:cNvSpPr>
              <a:spLocks noChangeArrowheads="1"/>
            </p:cNvSpPr>
            <p:nvPr/>
          </p:nvSpPr>
          <p:spPr bwMode="auto">
            <a:xfrm>
              <a:off x="969963" y="1328738"/>
              <a:ext cx="22225" cy="214312"/>
            </a:xfrm>
            <a:prstGeom prst="rect">
              <a:avLst/>
            </a:prstGeom>
            <a:solidFill>
              <a:srgbClr val="F4AB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24" name="Rectangle 304"/>
            <p:cNvSpPr>
              <a:spLocks noChangeArrowheads="1"/>
            </p:cNvSpPr>
            <p:nvPr/>
          </p:nvSpPr>
          <p:spPr bwMode="auto">
            <a:xfrm>
              <a:off x="661988" y="1411288"/>
              <a:ext cx="22225" cy="131762"/>
            </a:xfrm>
            <a:prstGeom prst="rect">
              <a:avLst/>
            </a:prstGeom>
            <a:solidFill>
              <a:srgbClr val="EF75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25" name="Rectangle 305"/>
            <p:cNvSpPr>
              <a:spLocks noChangeArrowheads="1"/>
            </p:cNvSpPr>
            <p:nvPr/>
          </p:nvSpPr>
          <p:spPr bwMode="auto">
            <a:xfrm>
              <a:off x="706438" y="1411288"/>
              <a:ext cx="22225" cy="131762"/>
            </a:xfrm>
            <a:prstGeom prst="rect">
              <a:avLst/>
            </a:prstGeom>
            <a:solidFill>
              <a:srgbClr val="EF75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26" name="Rectangle 306"/>
            <p:cNvSpPr>
              <a:spLocks noChangeArrowheads="1"/>
            </p:cNvSpPr>
            <p:nvPr/>
          </p:nvSpPr>
          <p:spPr bwMode="auto">
            <a:xfrm>
              <a:off x="749300" y="1411288"/>
              <a:ext cx="22225" cy="131762"/>
            </a:xfrm>
            <a:prstGeom prst="rect">
              <a:avLst/>
            </a:prstGeom>
            <a:solidFill>
              <a:srgbClr val="EF75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27" name="Rectangle 307"/>
            <p:cNvSpPr>
              <a:spLocks noChangeArrowheads="1"/>
            </p:cNvSpPr>
            <p:nvPr/>
          </p:nvSpPr>
          <p:spPr bwMode="auto">
            <a:xfrm>
              <a:off x="793750" y="1411288"/>
              <a:ext cx="22225" cy="131762"/>
            </a:xfrm>
            <a:prstGeom prst="rect">
              <a:avLst/>
            </a:prstGeom>
            <a:solidFill>
              <a:srgbClr val="EF75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28" name="Rectangle 308"/>
            <p:cNvSpPr>
              <a:spLocks noChangeArrowheads="1"/>
            </p:cNvSpPr>
            <p:nvPr/>
          </p:nvSpPr>
          <p:spPr bwMode="auto">
            <a:xfrm>
              <a:off x="838200" y="1411288"/>
              <a:ext cx="22225" cy="131762"/>
            </a:xfrm>
            <a:prstGeom prst="rect">
              <a:avLst/>
            </a:prstGeom>
            <a:solidFill>
              <a:srgbClr val="EF75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29" name="Rectangle 309"/>
            <p:cNvSpPr>
              <a:spLocks noChangeArrowheads="1"/>
            </p:cNvSpPr>
            <p:nvPr/>
          </p:nvSpPr>
          <p:spPr bwMode="auto">
            <a:xfrm>
              <a:off x="882650" y="1411288"/>
              <a:ext cx="20638" cy="131762"/>
            </a:xfrm>
            <a:prstGeom prst="rect">
              <a:avLst/>
            </a:prstGeom>
            <a:solidFill>
              <a:srgbClr val="EF75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30" name="Rectangle 310"/>
            <p:cNvSpPr>
              <a:spLocks noChangeArrowheads="1"/>
            </p:cNvSpPr>
            <p:nvPr/>
          </p:nvSpPr>
          <p:spPr bwMode="auto">
            <a:xfrm>
              <a:off x="925513" y="1411288"/>
              <a:ext cx="22225" cy="131762"/>
            </a:xfrm>
            <a:prstGeom prst="rect">
              <a:avLst/>
            </a:prstGeom>
            <a:solidFill>
              <a:srgbClr val="EF75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31" name="Rectangle 311"/>
            <p:cNvSpPr>
              <a:spLocks noChangeArrowheads="1"/>
            </p:cNvSpPr>
            <p:nvPr/>
          </p:nvSpPr>
          <p:spPr bwMode="auto">
            <a:xfrm>
              <a:off x="969963" y="1411288"/>
              <a:ext cx="22225" cy="131762"/>
            </a:xfrm>
            <a:prstGeom prst="rect">
              <a:avLst/>
            </a:prstGeom>
            <a:solidFill>
              <a:srgbClr val="EF75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32" name="Freeform 312"/>
            <p:cNvSpPr>
              <a:spLocks/>
            </p:cNvSpPr>
            <p:nvPr/>
          </p:nvSpPr>
          <p:spPr bwMode="auto">
            <a:xfrm>
              <a:off x="2840038" y="1196975"/>
              <a:ext cx="331788" cy="134937"/>
            </a:xfrm>
            <a:custGeom>
              <a:avLst/>
              <a:gdLst>
                <a:gd name="T0" fmla="*/ 0 w 1077"/>
                <a:gd name="T1" fmla="*/ 0 h 438"/>
                <a:gd name="T2" fmla="*/ 1031 w 1077"/>
                <a:gd name="T3" fmla="*/ 0 h 438"/>
                <a:gd name="T4" fmla="*/ 1077 w 1077"/>
                <a:gd name="T5" fmla="*/ 438 h 438"/>
                <a:gd name="T6" fmla="*/ 126 w 1077"/>
                <a:gd name="T7" fmla="*/ 438 h 438"/>
                <a:gd name="T8" fmla="*/ 0 w 1077"/>
                <a:gd name="T9" fmla="*/ 0 h 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77" h="438">
                  <a:moveTo>
                    <a:pt x="0" y="0"/>
                  </a:moveTo>
                  <a:lnTo>
                    <a:pt x="1031" y="0"/>
                  </a:lnTo>
                  <a:lnTo>
                    <a:pt x="1077" y="438"/>
                  </a:lnTo>
                  <a:lnTo>
                    <a:pt x="126" y="4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33" name="Freeform 313"/>
            <p:cNvSpPr>
              <a:spLocks/>
            </p:cNvSpPr>
            <p:nvPr/>
          </p:nvSpPr>
          <p:spPr bwMode="auto">
            <a:xfrm>
              <a:off x="2917825" y="1466850"/>
              <a:ext cx="282575" cy="134937"/>
            </a:xfrm>
            <a:custGeom>
              <a:avLst/>
              <a:gdLst>
                <a:gd name="T0" fmla="*/ 0 w 916"/>
                <a:gd name="T1" fmla="*/ 0 h 438"/>
                <a:gd name="T2" fmla="*/ 870 w 916"/>
                <a:gd name="T3" fmla="*/ 0 h 438"/>
                <a:gd name="T4" fmla="*/ 916 w 916"/>
                <a:gd name="T5" fmla="*/ 438 h 438"/>
                <a:gd name="T6" fmla="*/ 126 w 916"/>
                <a:gd name="T7" fmla="*/ 438 h 438"/>
                <a:gd name="T8" fmla="*/ 0 w 916"/>
                <a:gd name="T9" fmla="*/ 0 h 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16" h="438">
                  <a:moveTo>
                    <a:pt x="0" y="0"/>
                  </a:moveTo>
                  <a:lnTo>
                    <a:pt x="870" y="0"/>
                  </a:lnTo>
                  <a:lnTo>
                    <a:pt x="916" y="438"/>
                  </a:lnTo>
                  <a:lnTo>
                    <a:pt x="126" y="4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34" name="Freeform 314"/>
            <p:cNvSpPr>
              <a:spLocks/>
            </p:cNvSpPr>
            <p:nvPr/>
          </p:nvSpPr>
          <p:spPr bwMode="auto">
            <a:xfrm>
              <a:off x="2879725" y="1331913"/>
              <a:ext cx="306388" cy="134937"/>
            </a:xfrm>
            <a:custGeom>
              <a:avLst/>
              <a:gdLst>
                <a:gd name="T0" fmla="*/ 0 w 996"/>
                <a:gd name="T1" fmla="*/ 0 h 438"/>
                <a:gd name="T2" fmla="*/ 951 w 996"/>
                <a:gd name="T3" fmla="*/ 0 h 438"/>
                <a:gd name="T4" fmla="*/ 996 w 996"/>
                <a:gd name="T5" fmla="*/ 438 h 438"/>
                <a:gd name="T6" fmla="*/ 126 w 996"/>
                <a:gd name="T7" fmla="*/ 438 h 438"/>
                <a:gd name="T8" fmla="*/ 0 w 996"/>
                <a:gd name="T9" fmla="*/ 0 h 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96" h="438">
                  <a:moveTo>
                    <a:pt x="0" y="0"/>
                  </a:moveTo>
                  <a:lnTo>
                    <a:pt x="951" y="0"/>
                  </a:lnTo>
                  <a:lnTo>
                    <a:pt x="996" y="438"/>
                  </a:lnTo>
                  <a:lnTo>
                    <a:pt x="126" y="4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3B0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35" name="Freeform 315"/>
            <p:cNvSpPr>
              <a:spLocks/>
            </p:cNvSpPr>
            <p:nvPr/>
          </p:nvSpPr>
          <p:spPr bwMode="auto">
            <a:xfrm>
              <a:off x="2941638" y="1547813"/>
              <a:ext cx="150813" cy="53975"/>
            </a:xfrm>
            <a:custGeom>
              <a:avLst/>
              <a:gdLst>
                <a:gd name="T0" fmla="*/ 49 w 488"/>
                <a:gd name="T1" fmla="*/ 173 h 173"/>
                <a:gd name="T2" fmla="*/ 488 w 488"/>
                <a:gd name="T3" fmla="*/ 0 h 173"/>
                <a:gd name="T4" fmla="*/ 0 w 488"/>
                <a:gd name="T5" fmla="*/ 0 h 173"/>
                <a:gd name="T6" fmla="*/ 49 w 488"/>
                <a:gd name="T7" fmla="*/ 173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88" h="173">
                  <a:moveTo>
                    <a:pt x="49" y="173"/>
                  </a:moveTo>
                  <a:lnTo>
                    <a:pt x="488" y="0"/>
                  </a:lnTo>
                  <a:lnTo>
                    <a:pt x="0" y="0"/>
                  </a:lnTo>
                  <a:lnTo>
                    <a:pt x="49" y="173"/>
                  </a:lnTo>
                  <a:close/>
                </a:path>
              </a:pathLst>
            </a:custGeom>
            <a:solidFill>
              <a:srgbClr val="E31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36" name="Freeform 316"/>
            <p:cNvSpPr>
              <a:spLocks/>
            </p:cNvSpPr>
            <p:nvPr/>
          </p:nvSpPr>
          <p:spPr bwMode="auto">
            <a:xfrm>
              <a:off x="2566988" y="1146175"/>
              <a:ext cx="423863" cy="133350"/>
            </a:xfrm>
            <a:custGeom>
              <a:avLst/>
              <a:gdLst>
                <a:gd name="T0" fmla="*/ 0 w 1373"/>
                <a:gd name="T1" fmla="*/ 0 h 435"/>
                <a:gd name="T2" fmla="*/ 1207 w 1373"/>
                <a:gd name="T3" fmla="*/ 0 h 435"/>
                <a:gd name="T4" fmla="*/ 1373 w 1373"/>
                <a:gd name="T5" fmla="*/ 435 h 435"/>
                <a:gd name="T6" fmla="*/ 0 w 1373"/>
                <a:gd name="T7" fmla="*/ 435 h 435"/>
                <a:gd name="T8" fmla="*/ 0 w 1373"/>
                <a:gd name="T9" fmla="*/ 0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73" h="435">
                  <a:moveTo>
                    <a:pt x="0" y="0"/>
                  </a:moveTo>
                  <a:lnTo>
                    <a:pt x="1207" y="0"/>
                  </a:lnTo>
                  <a:lnTo>
                    <a:pt x="1373" y="435"/>
                  </a:lnTo>
                  <a:lnTo>
                    <a:pt x="0" y="43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AF2F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37" name="Freeform 317"/>
            <p:cNvSpPr>
              <a:spLocks/>
            </p:cNvSpPr>
            <p:nvPr/>
          </p:nvSpPr>
          <p:spPr bwMode="auto">
            <a:xfrm>
              <a:off x="2566988" y="1414463"/>
              <a:ext cx="525463" cy="133350"/>
            </a:xfrm>
            <a:custGeom>
              <a:avLst/>
              <a:gdLst>
                <a:gd name="T0" fmla="*/ 0 w 1704"/>
                <a:gd name="T1" fmla="*/ 0 h 436"/>
                <a:gd name="T2" fmla="*/ 1538 w 1704"/>
                <a:gd name="T3" fmla="*/ 0 h 436"/>
                <a:gd name="T4" fmla="*/ 1704 w 1704"/>
                <a:gd name="T5" fmla="*/ 436 h 436"/>
                <a:gd name="T6" fmla="*/ 0 w 1704"/>
                <a:gd name="T7" fmla="*/ 436 h 436"/>
                <a:gd name="T8" fmla="*/ 0 w 1704"/>
                <a:gd name="T9" fmla="*/ 0 h 4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04" h="436">
                  <a:moveTo>
                    <a:pt x="0" y="0"/>
                  </a:moveTo>
                  <a:lnTo>
                    <a:pt x="1538" y="0"/>
                  </a:lnTo>
                  <a:lnTo>
                    <a:pt x="1704" y="436"/>
                  </a:lnTo>
                  <a:lnTo>
                    <a:pt x="0" y="4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59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38" name="Freeform 318"/>
            <p:cNvSpPr>
              <a:spLocks/>
            </p:cNvSpPr>
            <p:nvPr/>
          </p:nvSpPr>
          <p:spPr bwMode="auto">
            <a:xfrm>
              <a:off x="2566988" y="1279525"/>
              <a:ext cx="474663" cy="134937"/>
            </a:xfrm>
            <a:custGeom>
              <a:avLst/>
              <a:gdLst>
                <a:gd name="T0" fmla="*/ 0 w 1538"/>
                <a:gd name="T1" fmla="*/ 0 h 436"/>
                <a:gd name="T2" fmla="*/ 1373 w 1538"/>
                <a:gd name="T3" fmla="*/ 0 h 436"/>
                <a:gd name="T4" fmla="*/ 1538 w 1538"/>
                <a:gd name="T5" fmla="*/ 436 h 436"/>
                <a:gd name="T6" fmla="*/ 0 w 1538"/>
                <a:gd name="T7" fmla="*/ 436 h 436"/>
                <a:gd name="T8" fmla="*/ 0 w 1538"/>
                <a:gd name="T9" fmla="*/ 0 h 4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38" h="436">
                  <a:moveTo>
                    <a:pt x="0" y="0"/>
                  </a:moveTo>
                  <a:lnTo>
                    <a:pt x="1373" y="0"/>
                  </a:lnTo>
                  <a:lnTo>
                    <a:pt x="1538" y="436"/>
                  </a:lnTo>
                  <a:lnTo>
                    <a:pt x="0" y="4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DB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39" name="Freeform 319"/>
            <p:cNvSpPr>
              <a:spLocks/>
            </p:cNvSpPr>
            <p:nvPr/>
          </p:nvSpPr>
          <p:spPr bwMode="auto">
            <a:xfrm>
              <a:off x="2551113" y="1127125"/>
              <a:ext cx="15875" cy="785812"/>
            </a:xfrm>
            <a:custGeom>
              <a:avLst/>
              <a:gdLst>
                <a:gd name="T0" fmla="*/ 0 w 52"/>
                <a:gd name="T1" fmla="*/ 0 h 2552"/>
                <a:gd name="T2" fmla="*/ 52 w 52"/>
                <a:gd name="T3" fmla="*/ 0 h 2552"/>
                <a:gd name="T4" fmla="*/ 52 w 52"/>
                <a:gd name="T5" fmla="*/ 2552 h 2552"/>
                <a:gd name="T6" fmla="*/ 26 w 52"/>
                <a:gd name="T7" fmla="*/ 2552 h 2552"/>
                <a:gd name="T8" fmla="*/ 0 w 52"/>
                <a:gd name="T9" fmla="*/ 2552 h 2552"/>
                <a:gd name="T10" fmla="*/ 0 w 52"/>
                <a:gd name="T11" fmla="*/ 0 h 25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2" h="2552">
                  <a:moveTo>
                    <a:pt x="0" y="0"/>
                  </a:moveTo>
                  <a:lnTo>
                    <a:pt x="52" y="0"/>
                  </a:lnTo>
                  <a:lnTo>
                    <a:pt x="52" y="2552"/>
                  </a:lnTo>
                  <a:cubicBezTo>
                    <a:pt x="44" y="2552"/>
                    <a:pt x="35" y="2552"/>
                    <a:pt x="26" y="2552"/>
                  </a:cubicBezTo>
                  <a:cubicBezTo>
                    <a:pt x="18" y="2552"/>
                    <a:pt x="9" y="2552"/>
                    <a:pt x="0" y="2552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3654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40" name="Rectangle 320"/>
            <p:cNvSpPr>
              <a:spLocks noChangeArrowheads="1"/>
            </p:cNvSpPr>
            <p:nvPr/>
          </p:nvSpPr>
          <p:spPr bwMode="auto">
            <a:xfrm>
              <a:off x="2543175" y="1114425"/>
              <a:ext cx="31750" cy="12700"/>
            </a:xfrm>
            <a:prstGeom prst="rect">
              <a:avLst/>
            </a:prstGeom>
            <a:solidFill>
              <a:srgbClr val="476A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41" name="Freeform 321"/>
            <p:cNvSpPr>
              <a:spLocks/>
            </p:cNvSpPr>
            <p:nvPr/>
          </p:nvSpPr>
          <p:spPr bwMode="auto">
            <a:xfrm>
              <a:off x="2551113" y="1127125"/>
              <a:ext cx="7938" cy="785812"/>
            </a:xfrm>
            <a:custGeom>
              <a:avLst/>
              <a:gdLst>
                <a:gd name="T0" fmla="*/ 0 w 26"/>
                <a:gd name="T1" fmla="*/ 0 h 2552"/>
                <a:gd name="T2" fmla="*/ 26 w 26"/>
                <a:gd name="T3" fmla="*/ 0 h 2552"/>
                <a:gd name="T4" fmla="*/ 26 w 26"/>
                <a:gd name="T5" fmla="*/ 2552 h 2552"/>
                <a:gd name="T6" fmla="*/ 0 w 26"/>
                <a:gd name="T7" fmla="*/ 2552 h 2552"/>
                <a:gd name="T8" fmla="*/ 0 w 26"/>
                <a:gd name="T9" fmla="*/ 0 h 25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2552">
                  <a:moveTo>
                    <a:pt x="0" y="0"/>
                  </a:moveTo>
                  <a:lnTo>
                    <a:pt x="26" y="0"/>
                  </a:lnTo>
                  <a:lnTo>
                    <a:pt x="26" y="2552"/>
                  </a:lnTo>
                  <a:cubicBezTo>
                    <a:pt x="18" y="2552"/>
                    <a:pt x="9" y="2552"/>
                    <a:pt x="0" y="2552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476A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42" name="Rectangle 322"/>
            <p:cNvSpPr>
              <a:spLocks noChangeArrowheads="1"/>
            </p:cNvSpPr>
            <p:nvPr/>
          </p:nvSpPr>
          <p:spPr bwMode="auto">
            <a:xfrm>
              <a:off x="2543175" y="1114425"/>
              <a:ext cx="15875" cy="12700"/>
            </a:xfrm>
            <a:prstGeom prst="rect">
              <a:avLst/>
            </a:prstGeom>
            <a:solidFill>
              <a:srgbClr val="688D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43" name="Rectangle 323"/>
            <p:cNvSpPr>
              <a:spLocks noChangeArrowheads="1"/>
            </p:cNvSpPr>
            <p:nvPr/>
          </p:nvSpPr>
          <p:spPr bwMode="auto">
            <a:xfrm>
              <a:off x="2422525" y="1909763"/>
              <a:ext cx="273050" cy="19050"/>
            </a:xfrm>
            <a:prstGeom prst="rect">
              <a:avLst/>
            </a:prstGeom>
            <a:solidFill>
              <a:srgbClr val="2C52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sp>
        <p:nvSpPr>
          <p:cNvPr id="47345" name="TextBox 47344"/>
          <p:cNvSpPr txBox="1"/>
          <p:nvPr/>
        </p:nvSpPr>
        <p:spPr>
          <a:xfrm>
            <a:off x="2661575" y="2014698"/>
            <a:ext cx="3983774" cy="369332"/>
          </a:xfrm>
          <a:prstGeom prst="rect">
            <a:avLst/>
          </a:prstGeom>
          <a:noFill/>
        </p:spPr>
        <p:txBody>
          <a:bodyPr wrap="none" lIns="36000" rIns="36000" rtlCol="0">
            <a:spAutoFit/>
          </a:bodyPr>
          <a:lstStyle/>
          <a:p>
            <a:pPr marL="0" lvl="6"/>
            <a:r>
              <a:rPr lang="ru-RU" b="1" spc="-4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НАЦИОНАЛЬНЫЕ ЦЕЛИ РАЗВИТИЯ 2020–2030</a:t>
            </a:r>
            <a:endParaRPr lang="ru-RU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graphicFrame>
        <p:nvGraphicFramePr>
          <p:cNvPr id="377" name="Таблица 37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50061204"/>
              </p:ext>
            </p:extLst>
          </p:nvPr>
        </p:nvGraphicFramePr>
        <p:xfrm>
          <a:off x="7095010" y="3073798"/>
          <a:ext cx="4887375" cy="2705326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4887375">
                  <a:extLst>
                    <a:ext uri="{9D8B030D-6E8A-4147-A177-3AD203B41FA5}">
                      <a16:colId xmlns:a16="http://schemas.microsoft.com/office/drawing/2014/main" val="3691814679"/>
                    </a:ext>
                  </a:extLst>
                </a:gridCol>
              </a:tblGrid>
              <a:tr h="108213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kern="12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Open Sans" pitchFamily="34" charset="0"/>
                          <a:ea typeface="Open Sans" pitchFamily="34" charset="0"/>
                          <a:cs typeface="Open Sans" pitchFamily="34" charset="0"/>
                        </a:rPr>
                        <a:t> Указ </a:t>
                      </a:r>
                      <a:r>
                        <a:rPr lang="ru-RU" sz="1600" b="0" kern="12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Open Sans" pitchFamily="34" charset="0"/>
                          <a:ea typeface="Open Sans" pitchFamily="34" charset="0"/>
                          <a:cs typeface="Open Sans" pitchFamily="34" charset="0"/>
                        </a:rPr>
                        <a:t>«О национальных целях </a:t>
                      </a:r>
                      <a:r>
                        <a:rPr lang="ru-RU" sz="1600" b="0" kern="12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Open Sans" pitchFamily="34" charset="0"/>
                          <a:ea typeface="Open Sans" pitchFamily="34" charset="0"/>
                          <a:cs typeface="Open Sans" pitchFamily="34" charset="0"/>
                        </a:rPr>
                        <a:t>развития</a:t>
                      </a:r>
                      <a:r>
                        <a:rPr lang="ru-RU" sz="1600" b="0" kern="1200" baseline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Open Sans" pitchFamily="34" charset="0"/>
                          <a:ea typeface="Open Sans" pitchFamily="34" charset="0"/>
                          <a:cs typeface="Open Sans" pitchFamily="34" charset="0"/>
                        </a:rPr>
                        <a:t> </a:t>
                      </a:r>
                      <a:r>
                        <a:rPr lang="ru-RU" sz="1600" b="0" kern="12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Open Sans" pitchFamily="34" charset="0"/>
                          <a:ea typeface="Open Sans" pitchFamily="34" charset="0"/>
                          <a:cs typeface="Open Sans" pitchFamily="34" charset="0"/>
                        </a:rPr>
                        <a:t> Российской    Федерации </a:t>
                      </a:r>
                      <a:r>
                        <a:rPr lang="ru-RU" sz="1600" b="0" kern="12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Open Sans" pitchFamily="34" charset="0"/>
                          <a:ea typeface="Open Sans" pitchFamily="34" charset="0"/>
                          <a:cs typeface="Open Sans" pitchFamily="34" charset="0"/>
                        </a:rPr>
                        <a:t>на период до 2030 года» </a:t>
                      </a:r>
                      <a:r>
                        <a:rPr lang="ru-RU" sz="1600" b="0" kern="12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Open Sans" pitchFamily="34" charset="0"/>
                          <a:ea typeface="Open Sans" pitchFamily="34" charset="0"/>
                          <a:cs typeface="Open Sans" pitchFamily="34" charset="0"/>
                        </a:rPr>
                        <a:t>от</a:t>
                      </a:r>
                      <a:r>
                        <a:rPr lang="ru-RU" sz="1600" b="0" kern="1200" baseline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Open Sans" pitchFamily="34" charset="0"/>
                          <a:ea typeface="Open Sans" pitchFamily="34" charset="0"/>
                          <a:cs typeface="Open Sans" pitchFamily="34" charset="0"/>
                        </a:rPr>
                        <a:t> </a:t>
                      </a:r>
                      <a:r>
                        <a:rPr lang="ru-RU" sz="1600" b="0" kern="12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Open Sans" pitchFamily="34" charset="0"/>
                          <a:ea typeface="Open Sans" pitchFamily="34" charset="0"/>
                          <a:cs typeface="Open Sans" pitchFamily="34" charset="0"/>
                        </a:rPr>
                        <a:t>21.07.2020г.</a:t>
                      </a:r>
                      <a:endParaRPr lang="ru-RU" sz="1600" b="0" kern="120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Open Sans" pitchFamily="34" charset="0"/>
                        <a:ea typeface="Open Sans" pitchFamily="34" charset="0"/>
                        <a:cs typeface="Open Sans" pitchFamily="34" charset="0"/>
                      </a:endParaRPr>
                    </a:p>
                  </a:txBody>
                  <a:tcPr marL="144000" marR="144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40A7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3586250"/>
                  </a:ext>
                </a:extLst>
              </a:tr>
              <a:tr h="1623196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ru-RU" sz="1600" b="0" kern="12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Приказ </a:t>
                      </a:r>
                      <a:r>
                        <a:rPr lang="ru-RU" sz="1600" b="0" kern="12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№ 219 Министерства просвещения Российской </a:t>
                      </a:r>
                      <a:r>
                        <a:rPr lang="ru-RU" sz="1600" b="0" kern="12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      Федерации</a:t>
                      </a:r>
                      <a:r>
                        <a:rPr lang="ru-RU" sz="1600" b="0" kern="12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,</a:t>
                      </a:r>
                      <a:r>
                        <a:rPr lang="ru-RU" sz="1600" b="0" kern="1200" baseline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приказ № 590 Федеральной службы по надзору в сфере образования и науки РФ от 06.05.2019 </a:t>
                      </a:r>
                      <a:endParaRPr lang="ru-RU" sz="1600" b="0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144000" marR="144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6459803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153661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Прямоугольник 46"/>
          <p:cNvSpPr/>
          <p:nvPr/>
        </p:nvSpPr>
        <p:spPr>
          <a:xfrm>
            <a:off x="7011059" y="0"/>
            <a:ext cx="5177889" cy="6888480"/>
          </a:xfrm>
          <a:prstGeom prst="rect">
            <a:avLst/>
          </a:prstGeom>
          <a:solidFill>
            <a:schemeClr val="accent1">
              <a:lumMod val="20000"/>
              <a:lumOff val="8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32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Прямоугольник 30"/>
          <p:cNvSpPr/>
          <p:nvPr/>
        </p:nvSpPr>
        <p:spPr>
          <a:xfrm>
            <a:off x="7242734" y="1951235"/>
            <a:ext cx="3936436" cy="33255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marL="285750" indent="-285750">
              <a:lnSpc>
                <a:spcPct val="110000"/>
              </a:lnSpc>
              <a:spcBef>
                <a:spcPts val="1600"/>
              </a:spcBef>
              <a:buBlip>
                <a:blip r:embed="rId7"/>
              </a:buBlip>
              <a:defRPr/>
            </a:pPr>
            <a:r>
              <a:rPr lang="ru-RU" sz="1400" dirty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Формирование функциональной грамотности. Как выстроить процесс?</a:t>
            </a:r>
          </a:p>
          <a:p>
            <a:pPr marL="285750" indent="-285750">
              <a:lnSpc>
                <a:spcPct val="110000"/>
              </a:lnSpc>
              <a:spcBef>
                <a:spcPts val="1600"/>
              </a:spcBef>
              <a:buBlip>
                <a:blip r:embed="rId7"/>
              </a:buBlip>
              <a:defRPr/>
            </a:pPr>
            <a:r>
              <a:rPr lang="ru-RU" sz="1400" dirty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Подготовка к международному исследованию PISA в </a:t>
            </a:r>
            <a:r>
              <a:rPr lang="ru-RU" sz="1400" dirty="0" smtClean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2022 </a:t>
            </a:r>
            <a:r>
              <a:rPr lang="ru-RU" sz="1400" dirty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году </a:t>
            </a:r>
            <a:endParaRPr lang="ru-RU" sz="1400" dirty="0" smtClean="0">
              <a:solidFill>
                <a:schemeClr val="tx1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285750" indent="-285750">
              <a:lnSpc>
                <a:spcPct val="110000"/>
              </a:lnSpc>
              <a:spcBef>
                <a:spcPts val="1600"/>
              </a:spcBef>
              <a:buBlip>
                <a:blip r:embed="rId7"/>
              </a:buBlip>
              <a:defRPr/>
            </a:pPr>
            <a:r>
              <a:rPr lang="ru-RU" sz="1400" dirty="0" smtClean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Серия </a:t>
            </a:r>
            <a:r>
              <a:rPr lang="ru-RU" sz="1400" dirty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«Функциональная грамотность. Учимся для жизни»</a:t>
            </a:r>
          </a:p>
          <a:p>
            <a:pPr marL="285750" indent="-285750">
              <a:lnSpc>
                <a:spcPct val="110000"/>
              </a:lnSpc>
              <a:spcBef>
                <a:spcPts val="1600"/>
              </a:spcBef>
              <a:buBlip>
                <a:blip r:embed="rId7"/>
              </a:buBlip>
              <a:defRPr/>
            </a:pPr>
            <a:r>
              <a:rPr lang="ru-RU" sz="1400" dirty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Серия «Функциональная Грамотность. Тренажёры</a:t>
            </a:r>
            <a:r>
              <a:rPr lang="ru-RU" sz="1400" dirty="0" smtClean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»</a:t>
            </a:r>
          </a:p>
          <a:p>
            <a:pPr marL="285750" indent="-285750">
              <a:lnSpc>
                <a:spcPct val="110000"/>
              </a:lnSpc>
              <a:spcBef>
                <a:spcPts val="1600"/>
              </a:spcBef>
              <a:buBlip>
                <a:blip r:embed="rId7"/>
              </a:buBlip>
              <a:defRPr/>
            </a:pPr>
            <a:r>
              <a:rPr lang="ru-RU" sz="1400" dirty="0" smtClean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Финансовая грамотность</a:t>
            </a:r>
            <a:endParaRPr lang="ru-RU" sz="1400" dirty="0">
              <a:solidFill>
                <a:schemeClr val="tx1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35" name="Номер слайда 8"/>
          <p:cNvSpPr txBox="1">
            <a:spLocks/>
          </p:cNvSpPr>
          <p:nvPr/>
        </p:nvSpPr>
        <p:spPr>
          <a:xfrm>
            <a:off x="8763000" y="65087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defRPr/>
            </a:pPr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7489874" y="1428213"/>
            <a:ext cx="3582899" cy="3077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defTabSz="914377">
              <a:defRPr/>
            </a:pPr>
            <a:r>
              <a:rPr lang="ru-RU" sz="2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одержание</a:t>
            </a:r>
          </a:p>
        </p:txBody>
      </p:sp>
      <p:sp>
        <p:nvSpPr>
          <p:cNvPr id="32" name="Rectangle 10"/>
          <p:cNvSpPr>
            <a:spLocks noChangeArrowheads="1"/>
          </p:cNvSpPr>
          <p:nvPr/>
        </p:nvSpPr>
        <p:spPr bwMode="auto">
          <a:xfrm>
            <a:off x="11375669" y="2257824"/>
            <a:ext cx="812363" cy="754751"/>
          </a:xfrm>
          <a:prstGeom prst="rect">
            <a:avLst/>
          </a:prstGeom>
          <a:solidFill>
            <a:srgbClr val="40D4E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0" name="Rectangle 13"/>
          <p:cNvSpPr>
            <a:spLocks noChangeArrowheads="1"/>
          </p:cNvSpPr>
          <p:nvPr/>
        </p:nvSpPr>
        <p:spPr bwMode="auto">
          <a:xfrm>
            <a:off x="11375669" y="5276823"/>
            <a:ext cx="812363" cy="754751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1" name="Rectangle 14"/>
          <p:cNvSpPr>
            <a:spLocks noChangeArrowheads="1"/>
          </p:cNvSpPr>
          <p:nvPr/>
        </p:nvSpPr>
        <p:spPr bwMode="auto">
          <a:xfrm>
            <a:off x="11376586" y="4522072"/>
            <a:ext cx="812363" cy="754751"/>
          </a:xfrm>
          <a:prstGeom prst="rect">
            <a:avLst/>
          </a:prstGeom>
          <a:solidFill>
            <a:srgbClr val="5471A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4" name="Rectangle 17"/>
          <p:cNvSpPr>
            <a:spLocks noChangeArrowheads="1"/>
          </p:cNvSpPr>
          <p:nvPr/>
        </p:nvSpPr>
        <p:spPr bwMode="auto">
          <a:xfrm>
            <a:off x="11375670" y="-4589"/>
            <a:ext cx="812363" cy="754751"/>
          </a:xfrm>
          <a:prstGeom prst="rect">
            <a:avLst/>
          </a:prstGeom>
          <a:solidFill>
            <a:srgbClr val="F5B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6" name="Rectangle 19"/>
          <p:cNvSpPr>
            <a:spLocks noChangeArrowheads="1"/>
          </p:cNvSpPr>
          <p:nvPr/>
        </p:nvSpPr>
        <p:spPr bwMode="auto">
          <a:xfrm>
            <a:off x="11376586" y="3012572"/>
            <a:ext cx="812363" cy="754751"/>
          </a:xfrm>
          <a:prstGeom prst="rect">
            <a:avLst/>
          </a:prstGeom>
          <a:solidFill>
            <a:srgbClr val="40A7E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8" name="Rectangle 21"/>
          <p:cNvSpPr>
            <a:spLocks noChangeArrowheads="1"/>
          </p:cNvSpPr>
          <p:nvPr/>
        </p:nvSpPr>
        <p:spPr bwMode="auto">
          <a:xfrm>
            <a:off x="11376586" y="6031572"/>
            <a:ext cx="812363" cy="754751"/>
          </a:xfrm>
          <a:prstGeom prst="rect">
            <a:avLst/>
          </a:prstGeom>
          <a:solidFill>
            <a:srgbClr val="F5B144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9" name="Rectangle 22"/>
          <p:cNvSpPr>
            <a:spLocks noChangeArrowheads="1"/>
          </p:cNvSpPr>
          <p:nvPr/>
        </p:nvSpPr>
        <p:spPr bwMode="auto">
          <a:xfrm>
            <a:off x="11375670" y="1502768"/>
            <a:ext cx="812363" cy="754751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2" name="Rectangle 25"/>
          <p:cNvSpPr>
            <a:spLocks noChangeArrowheads="1"/>
          </p:cNvSpPr>
          <p:nvPr/>
        </p:nvSpPr>
        <p:spPr bwMode="auto">
          <a:xfrm>
            <a:off x="11376586" y="3767322"/>
            <a:ext cx="812363" cy="754751"/>
          </a:xfrm>
          <a:prstGeom prst="rect">
            <a:avLst/>
          </a:prstGeom>
          <a:solidFill>
            <a:srgbClr val="4383D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6" name="Rectangle 29"/>
          <p:cNvSpPr>
            <a:spLocks noChangeArrowheads="1"/>
          </p:cNvSpPr>
          <p:nvPr/>
        </p:nvSpPr>
        <p:spPr bwMode="auto">
          <a:xfrm>
            <a:off x="11375670" y="748019"/>
            <a:ext cx="812363" cy="754751"/>
          </a:xfrm>
          <a:prstGeom prst="rect">
            <a:avLst/>
          </a:prstGeom>
          <a:solidFill>
            <a:srgbClr val="9ED442"/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9" name="Freeform 32"/>
          <p:cNvSpPr>
            <a:spLocks noEditPoints="1"/>
          </p:cNvSpPr>
          <p:nvPr/>
        </p:nvSpPr>
        <p:spPr bwMode="auto">
          <a:xfrm>
            <a:off x="11600809" y="2514255"/>
            <a:ext cx="362085" cy="271895"/>
          </a:xfrm>
          <a:custGeom>
            <a:avLst/>
            <a:gdLst>
              <a:gd name="T0" fmla="*/ 787 w 859"/>
              <a:gd name="T1" fmla="*/ 107 h 644"/>
              <a:gd name="T2" fmla="*/ 787 w 859"/>
              <a:gd name="T3" fmla="*/ 573 h 644"/>
              <a:gd name="T4" fmla="*/ 537 w 859"/>
              <a:gd name="T5" fmla="*/ 573 h 644"/>
              <a:gd name="T6" fmla="*/ 465 w 859"/>
              <a:gd name="T7" fmla="*/ 644 h 644"/>
              <a:gd name="T8" fmla="*/ 859 w 859"/>
              <a:gd name="T9" fmla="*/ 644 h 644"/>
              <a:gd name="T10" fmla="*/ 859 w 859"/>
              <a:gd name="T11" fmla="*/ 107 h 644"/>
              <a:gd name="T12" fmla="*/ 787 w 859"/>
              <a:gd name="T13" fmla="*/ 107 h 644"/>
              <a:gd name="T14" fmla="*/ 476 w 859"/>
              <a:gd name="T15" fmla="*/ 476 h 644"/>
              <a:gd name="T16" fmla="*/ 383 w 859"/>
              <a:gd name="T17" fmla="*/ 476 h 644"/>
              <a:gd name="T18" fmla="*/ 373 w 859"/>
              <a:gd name="T19" fmla="*/ 465 h 644"/>
              <a:gd name="T20" fmla="*/ 179 w 859"/>
              <a:gd name="T21" fmla="*/ 465 h 644"/>
              <a:gd name="T22" fmla="*/ 179 w 859"/>
              <a:gd name="T23" fmla="*/ 71 h 644"/>
              <a:gd name="T24" fmla="*/ 344 w 859"/>
              <a:gd name="T25" fmla="*/ 71 h 644"/>
              <a:gd name="T26" fmla="*/ 393 w 859"/>
              <a:gd name="T27" fmla="*/ 96 h 644"/>
              <a:gd name="T28" fmla="*/ 393 w 859"/>
              <a:gd name="T29" fmla="*/ 358 h 644"/>
              <a:gd name="T30" fmla="*/ 465 w 859"/>
              <a:gd name="T31" fmla="*/ 358 h 644"/>
              <a:gd name="T32" fmla="*/ 465 w 859"/>
              <a:gd name="T33" fmla="*/ 96 h 644"/>
              <a:gd name="T34" fmla="*/ 515 w 859"/>
              <a:gd name="T35" fmla="*/ 71 h 644"/>
              <a:gd name="T36" fmla="*/ 680 w 859"/>
              <a:gd name="T37" fmla="*/ 71 h 644"/>
              <a:gd name="T38" fmla="*/ 680 w 859"/>
              <a:gd name="T39" fmla="*/ 465 h 644"/>
              <a:gd name="T40" fmla="*/ 486 w 859"/>
              <a:gd name="T41" fmla="*/ 465 h 644"/>
              <a:gd name="T42" fmla="*/ 476 w 859"/>
              <a:gd name="T43" fmla="*/ 476 h 644"/>
              <a:gd name="T44" fmla="*/ 752 w 859"/>
              <a:gd name="T45" fmla="*/ 537 h 644"/>
              <a:gd name="T46" fmla="*/ 752 w 859"/>
              <a:gd name="T47" fmla="*/ 0 h 644"/>
              <a:gd name="T48" fmla="*/ 486 w 859"/>
              <a:gd name="T49" fmla="*/ 0 h 644"/>
              <a:gd name="T50" fmla="*/ 476 w 859"/>
              <a:gd name="T51" fmla="*/ 10 h 644"/>
              <a:gd name="T52" fmla="*/ 383 w 859"/>
              <a:gd name="T53" fmla="*/ 10 h 644"/>
              <a:gd name="T54" fmla="*/ 373 w 859"/>
              <a:gd name="T55" fmla="*/ 0 h 644"/>
              <a:gd name="T56" fmla="*/ 107 w 859"/>
              <a:gd name="T57" fmla="*/ 0 h 644"/>
              <a:gd name="T58" fmla="*/ 107 w 859"/>
              <a:gd name="T59" fmla="*/ 537 h 644"/>
              <a:gd name="T60" fmla="*/ 344 w 859"/>
              <a:gd name="T61" fmla="*/ 537 h 644"/>
              <a:gd name="T62" fmla="*/ 429 w 859"/>
              <a:gd name="T63" fmla="*/ 566 h 644"/>
              <a:gd name="T64" fmla="*/ 515 w 859"/>
              <a:gd name="T65" fmla="*/ 537 h 644"/>
              <a:gd name="T66" fmla="*/ 752 w 859"/>
              <a:gd name="T67" fmla="*/ 537 h 644"/>
              <a:gd name="T68" fmla="*/ 71 w 859"/>
              <a:gd name="T69" fmla="*/ 573 h 644"/>
              <a:gd name="T70" fmla="*/ 71 w 859"/>
              <a:gd name="T71" fmla="*/ 107 h 644"/>
              <a:gd name="T72" fmla="*/ 0 w 859"/>
              <a:gd name="T73" fmla="*/ 107 h 644"/>
              <a:gd name="T74" fmla="*/ 0 w 859"/>
              <a:gd name="T75" fmla="*/ 644 h 644"/>
              <a:gd name="T76" fmla="*/ 394 w 859"/>
              <a:gd name="T77" fmla="*/ 644 h 644"/>
              <a:gd name="T78" fmla="*/ 322 w 859"/>
              <a:gd name="T79" fmla="*/ 573 h 644"/>
              <a:gd name="T80" fmla="*/ 71 w 859"/>
              <a:gd name="T81" fmla="*/ 573 h 6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59" h="644">
                <a:moveTo>
                  <a:pt x="787" y="107"/>
                </a:moveTo>
                <a:lnTo>
                  <a:pt x="787" y="573"/>
                </a:lnTo>
                <a:lnTo>
                  <a:pt x="537" y="573"/>
                </a:lnTo>
                <a:lnTo>
                  <a:pt x="465" y="644"/>
                </a:lnTo>
                <a:lnTo>
                  <a:pt x="859" y="644"/>
                </a:lnTo>
                <a:lnTo>
                  <a:pt x="859" y="107"/>
                </a:lnTo>
                <a:lnTo>
                  <a:pt x="787" y="107"/>
                </a:lnTo>
                <a:close/>
                <a:moveTo>
                  <a:pt x="476" y="476"/>
                </a:moveTo>
                <a:cubicBezTo>
                  <a:pt x="450" y="501"/>
                  <a:pt x="409" y="501"/>
                  <a:pt x="383" y="476"/>
                </a:cubicBezTo>
                <a:lnTo>
                  <a:pt x="373" y="465"/>
                </a:lnTo>
                <a:lnTo>
                  <a:pt x="179" y="465"/>
                </a:lnTo>
                <a:lnTo>
                  <a:pt x="179" y="71"/>
                </a:lnTo>
                <a:lnTo>
                  <a:pt x="344" y="71"/>
                </a:lnTo>
                <a:cubicBezTo>
                  <a:pt x="359" y="71"/>
                  <a:pt x="393" y="91"/>
                  <a:pt x="393" y="96"/>
                </a:cubicBezTo>
                <a:lnTo>
                  <a:pt x="393" y="358"/>
                </a:lnTo>
                <a:lnTo>
                  <a:pt x="465" y="358"/>
                </a:lnTo>
                <a:lnTo>
                  <a:pt x="465" y="96"/>
                </a:lnTo>
                <a:cubicBezTo>
                  <a:pt x="465" y="91"/>
                  <a:pt x="500" y="71"/>
                  <a:pt x="515" y="71"/>
                </a:cubicBezTo>
                <a:lnTo>
                  <a:pt x="680" y="71"/>
                </a:lnTo>
                <a:lnTo>
                  <a:pt x="680" y="465"/>
                </a:lnTo>
                <a:lnTo>
                  <a:pt x="486" y="465"/>
                </a:lnTo>
                <a:lnTo>
                  <a:pt x="476" y="476"/>
                </a:lnTo>
                <a:close/>
                <a:moveTo>
                  <a:pt x="752" y="537"/>
                </a:moveTo>
                <a:lnTo>
                  <a:pt x="752" y="0"/>
                </a:lnTo>
                <a:lnTo>
                  <a:pt x="486" y="0"/>
                </a:lnTo>
                <a:lnTo>
                  <a:pt x="476" y="10"/>
                </a:lnTo>
                <a:cubicBezTo>
                  <a:pt x="450" y="36"/>
                  <a:pt x="409" y="36"/>
                  <a:pt x="383" y="10"/>
                </a:cubicBezTo>
                <a:lnTo>
                  <a:pt x="373" y="0"/>
                </a:lnTo>
                <a:lnTo>
                  <a:pt x="107" y="0"/>
                </a:lnTo>
                <a:lnTo>
                  <a:pt x="107" y="537"/>
                </a:lnTo>
                <a:lnTo>
                  <a:pt x="344" y="537"/>
                </a:lnTo>
                <a:cubicBezTo>
                  <a:pt x="369" y="573"/>
                  <a:pt x="399" y="566"/>
                  <a:pt x="429" y="566"/>
                </a:cubicBezTo>
                <a:cubicBezTo>
                  <a:pt x="460" y="566"/>
                  <a:pt x="490" y="573"/>
                  <a:pt x="515" y="537"/>
                </a:cubicBezTo>
                <a:lnTo>
                  <a:pt x="752" y="537"/>
                </a:lnTo>
                <a:close/>
                <a:moveTo>
                  <a:pt x="71" y="573"/>
                </a:moveTo>
                <a:lnTo>
                  <a:pt x="71" y="107"/>
                </a:lnTo>
                <a:lnTo>
                  <a:pt x="0" y="107"/>
                </a:lnTo>
                <a:lnTo>
                  <a:pt x="0" y="644"/>
                </a:lnTo>
                <a:lnTo>
                  <a:pt x="394" y="644"/>
                </a:lnTo>
                <a:lnTo>
                  <a:pt x="322" y="573"/>
                </a:lnTo>
                <a:lnTo>
                  <a:pt x="71" y="57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7" name="Freeform 40"/>
          <p:cNvSpPr>
            <a:spLocks noEditPoints="1"/>
          </p:cNvSpPr>
          <p:nvPr/>
        </p:nvSpPr>
        <p:spPr bwMode="auto">
          <a:xfrm>
            <a:off x="11601728" y="1744503"/>
            <a:ext cx="360248" cy="301287"/>
          </a:xfrm>
          <a:custGeom>
            <a:avLst/>
            <a:gdLst>
              <a:gd name="T0" fmla="*/ 716 w 859"/>
              <a:gd name="T1" fmla="*/ 0 h 716"/>
              <a:gd name="T2" fmla="*/ 143 w 859"/>
              <a:gd name="T3" fmla="*/ 0 h 716"/>
              <a:gd name="T4" fmla="*/ 0 w 859"/>
              <a:gd name="T5" fmla="*/ 143 h 716"/>
              <a:gd name="T6" fmla="*/ 143 w 859"/>
              <a:gd name="T7" fmla="*/ 286 h 716"/>
              <a:gd name="T8" fmla="*/ 286 w 859"/>
              <a:gd name="T9" fmla="*/ 143 h 716"/>
              <a:gd name="T10" fmla="*/ 215 w 859"/>
              <a:gd name="T11" fmla="*/ 143 h 716"/>
              <a:gd name="T12" fmla="*/ 143 w 859"/>
              <a:gd name="T13" fmla="*/ 215 h 716"/>
              <a:gd name="T14" fmla="*/ 72 w 859"/>
              <a:gd name="T15" fmla="*/ 143 h 716"/>
              <a:gd name="T16" fmla="*/ 143 w 859"/>
              <a:gd name="T17" fmla="*/ 72 h 716"/>
              <a:gd name="T18" fmla="*/ 716 w 859"/>
              <a:gd name="T19" fmla="*/ 72 h 716"/>
              <a:gd name="T20" fmla="*/ 788 w 859"/>
              <a:gd name="T21" fmla="*/ 143 h 716"/>
              <a:gd name="T22" fmla="*/ 716 w 859"/>
              <a:gd name="T23" fmla="*/ 215 h 716"/>
              <a:gd name="T24" fmla="*/ 645 w 859"/>
              <a:gd name="T25" fmla="*/ 143 h 716"/>
              <a:gd name="T26" fmla="*/ 573 w 859"/>
              <a:gd name="T27" fmla="*/ 143 h 716"/>
              <a:gd name="T28" fmla="*/ 716 w 859"/>
              <a:gd name="T29" fmla="*/ 286 h 716"/>
              <a:gd name="T30" fmla="*/ 859 w 859"/>
              <a:gd name="T31" fmla="*/ 143 h 716"/>
              <a:gd name="T32" fmla="*/ 716 w 859"/>
              <a:gd name="T33" fmla="*/ 0 h 716"/>
              <a:gd name="T34" fmla="*/ 394 w 859"/>
              <a:gd name="T35" fmla="*/ 143 h 716"/>
              <a:gd name="T36" fmla="*/ 394 w 859"/>
              <a:gd name="T37" fmla="*/ 573 h 716"/>
              <a:gd name="T38" fmla="*/ 465 w 859"/>
              <a:gd name="T39" fmla="*/ 573 h 716"/>
              <a:gd name="T40" fmla="*/ 465 w 859"/>
              <a:gd name="T41" fmla="*/ 143 h 716"/>
              <a:gd name="T42" fmla="*/ 394 w 859"/>
              <a:gd name="T43" fmla="*/ 143 h 716"/>
              <a:gd name="T44" fmla="*/ 537 w 859"/>
              <a:gd name="T45" fmla="*/ 262 h 716"/>
              <a:gd name="T46" fmla="*/ 537 w 859"/>
              <a:gd name="T47" fmla="*/ 573 h 716"/>
              <a:gd name="T48" fmla="*/ 609 w 859"/>
              <a:gd name="T49" fmla="*/ 573 h 716"/>
              <a:gd name="T50" fmla="*/ 609 w 859"/>
              <a:gd name="T51" fmla="*/ 329 h 716"/>
              <a:gd name="T52" fmla="*/ 537 w 859"/>
              <a:gd name="T53" fmla="*/ 262 h 716"/>
              <a:gd name="T54" fmla="*/ 250 w 859"/>
              <a:gd name="T55" fmla="*/ 329 h 716"/>
              <a:gd name="T56" fmla="*/ 250 w 859"/>
              <a:gd name="T57" fmla="*/ 573 h 716"/>
              <a:gd name="T58" fmla="*/ 322 w 859"/>
              <a:gd name="T59" fmla="*/ 573 h 716"/>
              <a:gd name="T60" fmla="*/ 322 w 859"/>
              <a:gd name="T61" fmla="*/ 262 h 716"/>
              <a:gd name="T62" fmla="*/ 250 w 859"/>
              <a:gd name="T63" fmla="*/ 329 h 716"/>
              <a:gd name="T64" fmla="*/ 143 w 859"/>
              <a:gd name="T65" fmla="*/ 716 h 716"/>
              <a:gd name="T66" fmla="*/ 716 w 859"/>
              <a:gd name="T67" fmla="*/ 716 h 716"/>
              <a:gd name="T68" fmla="*/ 716 w 859"/>
              <a:gd name="T69" fmla="*/ 645 h 716"/>
              <a:gd name="T70" fmla="*/ 143 w 859"/>
              <a:gd name="T71" fmla="*/ 645 h 716"/>
              <a:gd name="T72" fmla="*/ 143 w 859"/>
              <a:gd name="T73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59" h="716">
                <a:moveTo>
                  <a:pt x="716" y="0"/>
                </a:moveTo>
                <a:lnTo>
                  <a:pt x="143" y="0"/>
                </a:lnTo>
                <a:cubicBezTo>
                  <a:pt x="64" y="0"/>
                  <a:pt x="0" y="64"/>
                  <a:pt x="0" y="143"/>
                </a:cubicBezTo>
                <a:cubicBezTo>
                  <a:pt x="0" y="222"/>
                  <a:pt x="64" y="286"/>
                  <a:pt x="143" y="286"/>
                </a:cubicBezTo>
                <a:cubicBezTo>
                  <a:pt x="222" y="286"/>
                  <a:pt x="286" y="215"/>
                  <a:pt x="286" y="143"/>
                </a:cubicBezTo>
                <a:lnTo>
                  <a:pt x="215" y="143"/>
                </a:lnTo>
                <a:cubicBezTo>
                  <a:pt x="215" y="179"/>
                  <a:pt x="183" y="215"/>
                  <a:pt x="143" y="215"/>
                </a:cubicBezTo>
                <a:cubicBezTo>
                  <a:pt x="104" y="215"/>
                  <a:pt x="72" y="183"/>
                  <a:pt x="72" y="143"/>
                </a:cubicBezTo>
                <a:cubicBezTo>
                  <a:pt x="72" y="104"/>
                  <a:pt x="104" y="72"/>
                  <a:pt x="143" y="72"/>
                </a:cubicBezTo>
                <a:lnTo>
                  <a:pt x="716" y="72"/>
                </a:lnTo>
                <a:cubicBezTo>
                  <a:pt x="756" y="72"/>
                  <a:pt x="788" y="104"/>
                  <a:pt x="788" y="143"/>
                </a:cubicBezTo>
                <a:cubicBezTo>
                  <a:pt x="788" y="183"/>
                  <a:pt x="756" y="215"/>
                  <a:pt x="716" y="215"/>
                </a:cubicBezTo>
                <a:cubicBezTo>
                  <a:pt x="677" y="215"/>
                  <a:pt x="645" y="179"/>
                  <a:pt x="645" y="143"/>
                </a:cubicBezTo>
                <a:lnTo>
                  <a:pt x="573" y="143"/>
                </a:lnTo>
                <a:cubicBezTo>
                  <a:pt x="573" y="215"/>
                  <a:pt x="637" y="286"/>
                  <a:pt x="716" y="286"/>
                </a:cubicBezTo>
                <a:cubicBezTo>
                  <a:pt x="795" y="286"/>
                  <a:pt x="859" y="222"/>
                  <a:pt x="859" y="143"/>
                </a:cubicBezTo>
                <a:cubicBezTo>
                  <a:pt x="859" y="64"/>
                  <a:pt x="795" y="0"/>
                  <a:pt x="716" y="0"/>
                </a:cubicBezTo>
                <a:close/>
                <a:moveTo>
                  <a:pt x="394" y="143"/>
                </a:moveTo>
                <a:lnTo>
                  <a:pt x="394" y="573"/>
                </a:lnTo>
                <a:lnTo>
                  <a:pt x="465" y="573"/>
                </a:lnTo>
                <a:lnTo>
                  <a:pt x="465" y="143"/>
                </a:lnTo>
                <a:lnTo>
                  <a:pt x="394" y="143"/>
                </a:lnTo>
                <a:close/>
                <a:moveTo>
                  <a:pt x="537" y="262"/>
                </a:moveTo>
                <a:lnTo>
                  <a:pt x="537" y="573"/>
                </a:lnTo>
                <a:lnTo>
                  <a:pt x="609" y="573"/>
                </a:lnTo>
                <a:lnTo>
                  <a:pt x="609" y="329"/>
                </a:lnTo>
                <a:cubicBezTo>
                  <a:pt x="573" y="312"/>
                  <a:pt x="573" y="289"/>
                  <a:pt x="537" y="262"/>
                </a:cubicBezTo>
                <a:close/>
                <a:moveTo>
                  <a:pt x="250" y="329"/>
                </a:moveTo>
                <a:lnTo>
                  <a:pt x="250" y="573"/>
                </a:lnTo>
                <a:lnTo>
                  <a:pt x="322" y="573"/>
                </a:lnTo>
                <a:lnTo>
                  <a:pt x="322" y="262"/>
                </a:lnTo>
                <a:cubicBezTo>
                  <a:pt x="286" y="289"/>
                  <a:pt x="286" y="312"/>
                  <a:pt x="250" y="329"/>
                </a:cubicBezTo>
                <a:close/>
                <a:moveTo>
                  <a:pt x="143" y="716"/>
                </a:moveTo>
                <a:lnTo>
                  <a:pt x="716" y="716"/>
                </a:lnTo>
                <a:lnTo>
                  <a:pt x="716" y="645"/>
                </a:lnTo>
                <a:lnTo>
                  <a:pt x="143" y="645"/>
                </a:lnTo>
                <a:lnTo>
                  <a:pt x="143" y="7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8" name="Freeform 41"/>
          <p:cNvSpPr>
            <a:spLocks/>
          </p:cNvSpPr>
          <p:nvPr/>
        </p:nvSpPr>
        <p:spPr bwMode="auto">
          <a:xfrm>
            <a:off x="11600809" y="4756459"/>
            <a:ext cx="362085" cy="315984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4 h 752"/>
              <a:gd name="T8" fmla="*/ 144 w 860"/>
              <a:gd name="T9" fmla="*/ 475 h 752"/>
              <a:gd name="T10" fmla="*/ 149 w 860"/>
              <a:gd name="T11" fmla="*/ 484 h 752"/>
              <a:gd name="T12" fmla="*/ 430 w 860"/>
              <a:gd name="T13" fmla="*/ 644 h 752"/>
              <a:gd name="T14" fmla="*/ 573 w 860"/>
              <a:gd name="T15" fmla="*/ 610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5 h 752"/>
              <a:gd name="T22" fmla="*/ 215 w 860"/>
              <a:gd name="T23" fmla="*/ 376 h 752"/>
              <a:gd name="T24" fmla="*/ 430 w 860"/>
              <a:gd name="T25" fmla="*/ 501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8 h 752"/>
              <a:gd name="T32" fmla="*/ 142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5 h 752"/>
              <a:gd name="T40" fmla="*/ 454 w 860"/>
              <a:gd name="T41" fmla="*/ 204 h 752"/>
              <a:gd name="T42" fmla="*/ 391 w 860"/>
              <a:gd name="T43" fmla="*/ 247 h 752"/>
              <a:gd name="T44" fmla="*/ 390 w 860"/>
              <a:gd name="T45" fmla="*/ 249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0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4"/>
                </a:lnTo>
                <a:lnTo>
                  <a:pt x="144" y="475"/>
                </a:lnTo>
                <a:lnTo>
                  <a:pt x="149" y="484"/>
                </a:lnTo>
                <a:cubicBezTo>
                  <a:pt x="207" y="583"/>
                  <a:pt x="315" y="644"/>
                  <a:pt x="430" y="644"/>
                </a:cubicBezTo>
                <a:cubicBezTo>
                  <a:pt x="480" y="644"/>
                  <a:pt x="529" y="632"/>
                  <a:pt x="573" y="610"/>
                </a:cubicBezTo>
                <a:lnTo>
                  <a:pt x="573" y="528"/>
                </a:lnTo>
                <a:cubicBezTo>
                  <a:pt x="532" y="556"/>
                  <a:pt x="482" y="573"/>
                  <a:pt x="430" y="573"/>
                </a:cubicBezTo>
                <a:cubicBezTo>
                  <a:pt x="343" y="573"/>
                  <a:pt x="262" y="528"/>
                  <a:pt x="215" y="455"/>
                </a:cubicBezTo>
                <a:lnTo>
                  <a:pt x="215" y="376"/>
                </a:lnTo>
                <a:lnTo>
                  <a:pt x="430" y="501"/>
                </a:lnTo>
                <a:lnTo>
                  <a:pt x="553" y="430"/>
                </a:lnTo>
                <a:lnTo>
                  <a:pt x="483" y="388"/>
                </a:lnTo>
                <a:lnTo>
                  <a:pt x="430" y="418"/>
                </a:lnTo>
                <a:lnTo>
                  <a:pt x="142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5"/>
                </a:lnTo>
                <a:lnTo>
                  <a:pt x="454" y="204"/>
                </a:lnTo>
                <a:lnTo>
                  <a:pt x="391" y="247"/>
                </a:lnTo>
                <a:lnTo>
                  <a:pt x="390" y="249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0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grpSp>
        <p:nvGrpSpPr>
          <p:cNvPr id="69" name="Группа 68"/>
          <p:cNvGrpSpPr/>
          <p:nvPr/>
        </p:nvGrpSpPr>
        <p:grpSpPr>
          <a:xfrm>
            <a:off x="11614594" y="200960"/>
            <a:ext cx="334516" cy="361915"/>
            <a:chOff x="477468" y="2705515"/>
            <a:chExt cx="409903" cy="443477"/>
          </a:xfrm>
        </p:grpSpPr>
        <p:sp>
          <p:nvSpPr>
            <p:cNvPr id="70" name="Freeform 42"/>
            <p:cNvSpPr>
              <a:spLocks noEditPoints="1"/>
            </p:cNvSpPr>
            <p:nvPr/>
          </p:nvSpPr>
          <p:spPr bwMode="auto">
            <a:xfrm>
              <a:off x="477468" y="2705515"/>
              <a:ext cx="409903" cy="387195"/>
            </a:xfrm>
            <a:custGeom>
              <a:avLst/>
              <a:gdLst>
                <a:gd name="T0" fmla="*/ 218 w 793"/>
                <a:gd name="T1" fmla="*/ 575 h 751"/>
                <a:gd name="T2" fmla="*/ 194 w 793"/>
                <a:gd name="T3" fmla="*/ 95 h 751"/>
                <a:gd name="T4" fmla="*/ 219 w 793"/>
                <a:gd name="T5" fmla="*/ 121 h 751"/>
                <a:gd name="T6" fmla="*/ 149 w 793"/>
                <a:gd name="T7" fmla="*/ 322 h 751"/>
                <a:gd name="T8" fmla="*/ 471 w 793"/>
                <a:gd name="T9" fmla="*/ 644 h 751"/>
                <a:gd name="T10" fmla="*/ 672 w 793"/>
                <a:gd name="T11" fmla="*/ 574 h 751"/>
                <a:gd name="T12" fmla="*/ 698 w 793"/>
                <a:gd name="T13" fmla="*/ 599 h 751"/>
                <a:gd name="T14" fmla="*/ 218 w 793"/>
                <a:gd name="T15" fmla="*/ 575 h 751"/>
                <a:gd name="T16" fmla="*/ 471 w 793"/>
                <a:gd name="T17" fmla="*/ 71 h 751"/>
                <a:gd name="T18" fmla="*/ 722 w 793"/>
                <a:gd name="T19" fmla="*/ 322 h 751"/>
                <a:gd name="T20" fmla="*/ 471 w 793"/>
                <a:gd name="T21" fmla="*/ 573 h 751"/>
                <a:gd name="T22" fmla="*/ 220 w 793"/>
                <a:gd name="T23" fmla="*/ 322 h 751"/>
                <a:gd name="T24" fmla="*/ 471 w 793"/>
                <a:gd name="T25" fmla="*/ 71 h 751"/>
                <a:gd name="T26" fmla="*/ 723 w 793"/>
                <a:gd name="T27" fmla="*/ 523 h 751"/>
                <a:gd name="T28" fmla="*/ 793 w 793"/>
                <a:gd name="T29" fmla="*/ 322 h 751"/>
                <a:gd name="T30" fmla="*/ 471 w 793"/>
                <a:gd name="T31" fmla="*/ 0 h 751"/>
                <a:gd name="T32" fmla="*/ 270 w 793"/>
                <a:gd name="T33" fmla="*/ 71 h 751"/>
                <a:gd name="T34" fmla="*/ 218 w 793"/>
                <a:gd name="T35" fmla="*/ 18 h 751"/>
                <a:gd name="T36" fmla="*/ 192 w 793"/>
                <a:gd name="T37" fmla="*/ 8 h 751"/>
                <a:gd name="T38" fmla="*/ 192 w 793"/>
                <a:gd name="T39" fmla="*/ 8 h 751"/>
                <a:gd name="T40" fmla="*/ 167 w 793"/>
                <a:gd name="T41" fmla="*/ 18 h 751"/>
                <a:gd name="T42" fmla="*/ 167 w 793"/>
                <a:gd name="T43" fmla="*/ 626 h 751"/>
                <a:gd name="T44" fmla="*/ 471 w 793"/>
                <a:gd name="T45" fmla="*/ 751 h 751"/>
                <a:gd name="T46" fmla="*/ 775 w 793"/>
                <a:gd name="T47" fmla="*/ 626 h 751"/>
                <a:gd name="T48" fmla="*/ 785 w 793"/>
                <a:gd name="T49" fmla="*/ 601 h 751"/>
                <a:gd name="T50" fmla="*/ 775 w 793"/>
                <a:gd name="T51" fmla="*/ 575 h 751"/>
                <a:gd name="T52" fmla="*/ 723 w 793"/>
                <a:gd name="T53" fmla="*/ 523 h 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93" h="751">
                  <a:moveTo>
                    <a:pt x="218" y="575"/>
                  </a:moveTo>
                  <a:cubicBezTo>
                    <a:pt x="87" y="444"/>
                    <a:pt x="79" y="236"/>
                    <a:pt x="194" y="95"/>
                  </a:cubicBezTo>
                  <a:lnTo>
                    <a:pt x="219" y="121"/>
                  </a:lnTo>
                  <a:cubicBezTo>
                    <a:pt x="175" y="176"/>
                    <a:pt x="149" y="246"/>
                    <a:pt x="149" y="322"/>
                  </a:cubicBezTo>
                  <a:cubicBezTo>
                    <a:pt x="149" y="500"/>
                    <a:pt x="293" y="644"/>
                    <a:pt x="471" y="644"/>
                  </a:cubicBezTo>
                  <a:cubicBezTo>
                    <a:pt x="547" y="644"/>
                    <a:pt x="617" y="618"/>
                    <a:pt x="672" y="574"/>
                  </a:cubicBezTo>
                  <a:lnTo>
                    <a:pt x="698" y="599"/>
                  </a:lnTo>
                  <a:cubicBezTo>
                    <a:pt x="557" y="714"/>
                    <a:pt x="349" y="706"/>
                    <a:pt x="218" y="575"/>
                  </a:cubicBezTo>
                  <a:close/>
                  <a:moveTo>
                    <a:pt x="471" y="71"/>
                  </a:moveTo>
                  <a:cubicBezTo>
                    <a:pt x="609" y="71"/>
                    <a:pt x="722" y="184"/>
                    <a:pt x="722" y="322"/>
                  </a:cubicBezTo>
                  <a:cubicBezTo>
                    <a:pt x="722" y="460"/>
                    <a:pt x="609" y="573"/>
                    <a:pt x="471" y="573"/>
                  </a:cubicBezTo>
                  <a:cubicBezTo>
                    <a:pt x="333" y="573"/>
                    <a:pt x="220" y="460"/>
                    <a:pt x="220" y="322"/>
                  </a:cubicBezTo>
                  <a:cubicBezTo>
                    <a:pt x="220" y="184"/>
                    <a:pt x="333" y="71"/>
                    <a:pt x="471" y="71"/>
                  </a:cubicBezTo>
                  <a:close/>
                  <a:moveTo>
                    <a:pt x="723" y="523"/>
                  </a:moveTo>
                  <a:cubicBezTo>
                    <a:pt x="767" y="468"/>
                    <a:pt x="793" y="398"/>
                    <a:pt x="793" y="322"/>
                  </a:cubicBezTo>
                  <a:cubicBezTo>
                    <a:pt x="793" y="144"/>
                    <a:pt x="649" y="0"/>
                    <a:pt x="471" y="0"/>
                  </a:cubicBezTo>
                  <a:cubicBezTo>
                    <a:pt x="395" y="0"/>
                    <a:pt x="325" y="26"/>
                    <a:pt x="270" y="71"/>
                  </a:cubicBezTo>
                  <a:lnTo>
                    <a:pt x="218" y="18"/>
                  </a:lnTo>
                  <a:cubicBezTo>
                    <a:pt x="211" y="11"/>
                    <a:pt x="202" y="8"/>
                    <a:pt x="192" y="8"/>
                  </a:cubicBezTo>
                  <a:cubicBezTo>
                    <a:pt x="192" y="8"/>
                    <a:pt x="192" y="8"/>
                    <a:pt x="192" y="8"/>
                  </a:cubicBezTo>
                  <a:cubicBezTo>
                    <a:pt x="183" y="8"/>
                    <a:pt x="174" y="11"/>
                    <a:pt x="167" y="18"/>
                  </a:cubicBezTo>
                  <a:cubicBezTo>
                    <a:pt x="0" y="186"/>
                    <a:pt x="0" y="458"/>
                    <a:pt x="167" y="626"/>
                  </a:cubicBezTo>
                  <a:cubicBezTo>
                    <a:pt x="251" y="710"/>
                    <a:pt x="361" y="751"/>
                    <a:pt x="471" y="751"/>
                  </a:cubicBezTo>
                  <a:cubicBezTo>
                    <a:pt x="581" y="751"/>
                    <a:pt x="691" y="710"/>
                    <a:pt x="775" y="626"/>
                  </a:cubicBezTo>
                  <a:cubicBezTo>
                    <a:pt x="782" y="619"/>
                    <a:pt x="785" y="610"/>
                    <a:pt x="785" y="601"/>
                  </a:cubicBezTo>
                  <a:cubicBezTo>
                    <a:pt x="785" y="591"/>
                    <a:pt x="782" y="582"/>
                    <a:pt x="775" y="575"/>
                  </a:cubicBezTo>
                  <a:lnTo>
                    <a:pt x="723" y="5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71" name="Rectangle 43"/>
            <p:cNvSpPr>
              <a:spLocks noChangeArrowheads="1"/>
            </p:cNvSpPr>
            <p:nvPr/>
          </p:nvSpPr>
          <p:spPr bwMode="auto">
            <a:xfrm>
              <a:off x="637377" y="3110722"/>
              <a:ext cx="148646" cy="3827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sp>
        <p:nvSpPr>
          <p:cNvPr id="72" name="Freeform 44"/>
          <p:cNvSpPr>
            <a:spLocks noEditPoints="1"/>
          </p:cNvSpPr>
          <p:nvPr/>
        </p:nvSpPr>
        <p:spPr bwMode="auto">
          <a:xfrm>
            <a:off x="11606322" y="5464056"/>
            <a:ext cx="351059" cy="380284"/>
          </a:xfrm>
          <a:custGeom>
            <a:avLst/>
            <a:gdLst>
              <a:gd name="T0" fmla="*/ 583 w 837"/>
              <a:gd name="T1" fmla="*/ 579 h 901"/>
              <a:gd name="T2" fmla="*/ 511 w 837"/>
              <a:gd name="T3" fmla="*/ 650 h 901"/>
              <a:gd name="T4" fmla="*/ 583 w 837"/>
              <a:gd name="T5" fmla="*/ 722 h 901"/>
              <a:gd name="T6" fmla="*/ 654 w 837"/>
              <a:gd name="T7" fmla="*/ 650 h 901"/>
              <a:gd name="T8" fmla="*/ 583 w 837"/>
              <a:gd name="T9" fmla="*/ 579 h 901"/>
              <a:gd name="T10" fmla="*/ 332 w 837"/>
              <a:gd name="T11" fmla="*/ 579 h 901"/>
              <a:gd name="T12" fmla="*/ 260 w 837"/>
              <a:gd name="T13" fmla="*/ 650 h 901"/>
              <a:gd name="T14" fmla="*/ 332 w 837"/>
              <a:gd name="T15" fmla="*/ 722 h 901"/>
              <a:gd name="T16" fmla="*/ 404 w 837"/>
              <a:gd name="T17" fmla="*/ 650 h 901"/>
              <a:gd name="T18" fmla="*/ 332 w 837"/>
              <a:gd name="T19" fmla="*/ 579 h 901"/>
              <a:gd name="T20" fmla="*/ 332 w 837"/>
              <a:gd name="T21" fmla="*/ 435 h 901"/>
              <a:gd name="T22" fmla="*/ 260 w 837"/>
              <a:gd name="T23" fmla="*/ 364 h 901"/>
              <a:gd name="T24" fmla="*/ 189 w 837"/>
              <a:gd name="T25" fmla="*/ 435 h 901"/>
              <a:gd name="T26" fmla="*/ 260 w 837"/>
              <a:gd name="T27" fmla="*/ 507 h 901"/>
              <a:gd name="T28" fmla="*/ 332 w 837"/>
              <a:gd name="T29" fmla="*/ 435 h 901"/>
              <a:gd name="T30" fmla="*/ 404 w 837"/>
              <a:gd name="T31" fmla="*/ 185 h 901"/>
              <a:gd name="T32" fmla="*/ 332 w 837"/>
              <a:gd name="T33" fmla="*/ 256 h 901"/>
              <a:gd name="T34" fmla="*/ 404 w 837"/>
              <a:gd name="T35" fmla="*/ 328 h 901"/>
              <a:gd name="T36" fmla="*/ 475 w 837"/>
              <a:gd name="T37" fmla="*/ 256 h 901"/>
              <a:gd name="T38" fmla="*/ 404 w 837"/>
              <a:gd name="T39" fmla="*/ 185 h 901"/>
              <a:gd name="T40" fmla="*/ 757 w 837"/>
              <a:gd name="T41" fmla="*/ 635 h 901"/>
              <a:gd name="T42" fmla="*/ 698 w 837"/>
              <a:gd name="T43" fmla="*/ 711 h 901"/>
              <a:gd name="T44" fmla="*/ 429 w 837"/>
              <a:gd name="T45" fmla="*/ 829 h 901"/>
              <a:gd name="T46" fmla="*/ 207 w 837"/>
              <a:gd name="T47" fmla="*/ 738 h 901"/>
              <a:gd name="T48" fmla="*/ 233 w 837"/>
              <a:gd name="T49" fmla="*/ 231 h 901"/>
              <a:gd name="T50" fmla="*/ 502 w 837"/>
              <a:gd name="T51" fmla="*/ 113 h 901"/>
              <a:gd name="T52" fmla="*/ 658 w 837"/>
              <a:gd name="T53" fmla="*/ 154 h 901"/>
              <a:gd name="T54" fmla="*/ 675 w 837"/>
              <a:gd name="T55" fmla="*/ 177 h 901"/>
              <a:gd name="T56" fmla="*/ 665 w 837"/>
              <a:gd name="T57" fmla="*/ 208 h 901"/>
              <a:gd name="T58" fmla="*/ 602 w 837"/>
              <a:gd name="T59" fmla="*/ 366 h 901"/>
              <a:gd name="T60" fmla="*/ 744 w 837"/>
              <a:gd name="T61" fmla="*/ 584 h 901"/>
              <a:gd name="T62" fmla="*/ 760 w 837"/>
              <a:gd name="T63" fmla="*/ 605 h 901"/>
              <a:gd name="T64" fmla="*/ 757 w 837"/>
              <a:gd name="T65" fmla="*/ 635 h 901"/>
              <a:gd name="T66" fmla="*/ 829 w 837"/>
              <a:gd name="T67" fmla="*/ 585 h 901"/>
              <a:gd name="T68" fmla="*/ 776 w 837"/>
              <a:gd name="T69" fmla="*/ 520 h 901"/>
              <a:gd name="T70" fmla="*/ 673 w 837"/>
              <a:gd name="T71" fmla="*/ 366 h 901"/>
              <a:gd name="T72" fmla="*/ 718 w 837"/>
              <a:gd name="T73" fmla="*/ 257 h 901"/>
              <a:gd name="T74" fmla="*/ 746 w 837"/>
              <a:gd name="T75" fmla="*/ 166 h 901"/>
              <a:gd name="T76" fmla="*/ 694 w 837"/>
              <a:gd name="T77" fmla="*/ 92 h 901"/>
              <a:gd name="T78" fmla="*/ 181 w 837"/>
              <a:gd name="T79" fmla="*/ 181 h 901"/>
              <a:gd name="T80" fmla="*/ 156 w 837"/>
              <a:gd name="T81" fmla="*/ 788 h 901"/>
              <a:gd name="T82" fmla="*/ 429 w 837"/>
              <a:gd name="T83" fmla="*/ 901 h 901"/>
              <a:gd name="T84" fmla="*/ 749 w 837"/>
              <a:gd name="T85" fmla="*/ 761 h 901"/>
              <a:gd name="T86" fmla="*/ 818 w 837"/>
              <a:gd name="T87" fmla="*/ 672 h 901"/>
              <a:gd name="T88" fmla="*/ 829 w 837"/>
              <a:gd name="T89" fmla="*/ 585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37" h="901">
                <a:moveTo>
                  <a:pt x="583" y="579"/>
                </a:moveTo>
                <a:cubicBezTo>
                  <a:pt x="543" y="579"/>
                  <a:pt x="511" y="611"/>
                  <a:pt x="511" y="650"/>
                </a:cubicBezTo>
                <a:cubicBezTo>
                  <a:pt x="511" y="690"/>
                  <a:pt x="543" y="722"/>
                  <a:pt x="583" y="722"/>
                </a:cubicBezTo>
                <a:cubicBezTo>
                  <a:pt x="622" y="722"/>
                  <a:pt x="654" y="690"/>
                  <a:pt x="654" y="650"/>
                </a:cubicBezTo>
                <a:cubicBezTo>
                  <a:pt x="654" y="611"/>
                  <a:pt x="622" y="579"/>
                  <a:pt x="583" y="579"/>
                </a:cubicBezTo>
                <a:close/>
                <a:moveTo>
                  <a:pt x="332" y="579"/>
                </a:moveTo>
                <a:cubicBezTo>
                  <a:pt x="292" y="579"/>
                  <a:pt x="260" y="611"/>
                  <a:pt x="260" y="650"/>
                </a:cubicBezTo>
                <a:cubicBezTo>
                  <a:pt x="260" y="690"/>
                  <a:pt x="292" y="722"/>
                  <a:pt x="332" y="722"/>
                </a:cubicBezTo>
                <a:cubicBezTo>
                  <a:pt x="372" y="722"/>
                  <a:pt x="404" y="690"/>
                  <a:pt x="404" y="650"/>
                </a:cubicBezTo>
                <a:cubicBezTo>
                  <a:pt x="404" y="611"/>
                  <a:pt x="372" y="579"/>
                  <a:pt x="332" y="579"/>
                </a:cubicBezTo>
                <a:close/>
                <a:moveTo>
                  <a:pt x="332" y="435"/>
                </a:moveTo>
                <a:cubicBezTo>
                  <a:pt x="332" y="396"/>
                  <a:pt x="300" y="364"/>
                  <a:pt x="260" y="364"/>
                </a:cubicBezTo>
                <a:cubicBezTo>
                  <a:pt x="221" y="364"/>
                  <a:pt x="189" y="396"/>
                  <a:pt x="189" y="435"/>
                </a:cubicBezTo>
                <a:cubicBezTo>
                  <a:pt x="189" y="475"/>
                  <a:pt x="221" y="507"/>
                  <a:pt x="260" y="507"/>
                </a:cubicBezTo>
                <a:cubicBezTo>
                  <a:pt x="300" y="507"/>
                  <a:pt x="332" y="475"/>
                  <a:pt x="332" y="435"/>
                </a:cubicBezTo>
                <a:close/>
                <a:moveTo>
                  <a:pt x="404" y="185"/>
                </a:moveTo>
                <a:cubicBezTo>
                  <a:pt x="364" y="185"/>
                  <a:pt x="332" y="217"/>
                  <a:pt x="332" y="256"/>
                </a:cubicBezTo>
                <a:cubicBezTo>
                  <a:pt x="332" y="296"/>
                  <a:pt x="364" y="328"/>
                  <a:pt x="404" y="328"/>
                </a:cubicBezTo>
                <a:cubicBezTo>
                  <a:pt x="443" y="328"/>
                  <a:pt x="475" y="296"/>
                  <a:pt x="475" y="256"/>
                </a:cubicBezTo>
                <a:cubicBezTo>
                  <a:pt x="475" y="217"/>
                  <a:pt x="443" y="185"/>
                  <a:pt x="404" y="185"/>
                </a:cubicBezTo>
                <a:close/>
                <a:moveTo>
                  <a:pt x="757" y="635"/>
                </a:moveTo>
                <a:cubicBezTo>
                  <a:pt x="740" y="663"/>
                  <a:pt x="721" y="688"/>
                  <a:pt x="698" y="711"/>
                </a:cubicBezTo>
                <a:cubicBezTo>
                  <a:pt x="625" y="786"/>
                  <a:pt x="527" y="829"/>
                  <a:pt x="429" y="829"/>
                </a:cubicBezTo>
                <a:cubicBezTo>
                  <a:pt x="343" y="829"/>
                  <a:pt x="265" y="797"/>
                  <a:pt x="207" y="738"/>
                </a:cubicBezTo>
                <a:cubicBezTo>
                  <a:pt x="78" y="605"/>
                  <a:pt x="89" y="378"/>
                  <a:pt x="233" y="231"/>
                </a:cubicBezTo>
                <a:cubicBezTo>
                  <a:pt x="308" y="154"/>
                  <a:pt x="406" y="113"/>
                  <a:pt x="502" y="113"/>
                </a:cubicBezTo>
                <a:cubicBezTo>
                  <a:pt x="557" y="113"/>
                  <a:pt x="610" y="126"/>
                  <a:pt x="658" y="154"/>
                </a:cubicBezTo>
                <a:cubicBezTo>
                  <a:pt x="668" y="159"/>
                  <a:pt x="674" y="167"/>
                  <a:pt x="675" y="177"/>
                </a:cubicBezTo>
                <a:cubicBezTo>
                  <a:pt x="677" y="188"/>
                  <a:pt x="673" y="199"/>
                  <a:pt x="665" y="208"/>
                </a:cubicBezTo>
                <a:cubicBezTo>
                  <a:pt x="624" y="253"/>
                  <a:pt x="602" y="309"/>
                  <a:pt x="602" y="366"/>
                </a:cubicBezTo>
                <a:cubicBezTo>
                  <a:pt x="602" y="456"/>
                  <a:pt x="656" y="540"/>
                  <a:pt x="744" y="584"/>
                </a:cubicBezTo>
                <a:cubicBezTo>
                  <a:pt x="754" y="590"/>
                  <a:pt x="759" y="600"/>
                  <a:pt x="760" y="605"/>
                </a:cubicBezTo>
                <a:cubicBezTo>
                  <a:pt x="763" y="615"/>
                  <a:pt x="762" y="626"/>
                  <a:pt x="757" y="635"/>
                </a:cubicBezTo>
                <a:close/>
                <a:moveTo>
                  <a:pt x="829" y="585"/>
                </a:moveTo>
                <a:cubicBezTo>
                  <a:pt x="821" y="557"/>
                  <a:pt x="801" y="533"/>
                  <a:pt x="776" y="520"/>
                </a:cubicBezTo>
                <a:cubicBezTo>
                  <a:pt x="713" y="488"/>
                  <a:pt x="673" y="429"/>
                  <a:pt x="673" y="366"/>
                </a:cubicBezTo>
                <a:cubicBezTo>
                  <a:pt x="673" y="326"/>
                  <a:pt x="689" y="288"/>
                  <a:pt x="718" y="257"/>
                </a:cubicBezTo>
                <a:cubicBezTo>
                  <a:pt x="741" y="231"/>
                  <a:pt x="751" y="198"/>
                  <a:pt x="746" y="166"/>
                </a:cubicBezTo>
                <a:cubicBezTo>
                  <a:pt x="741" y="135"/>
                  <a:pt x="722" y="108"/>
                  <a:pt x="694" y="92"/>
                </a:cubicBezTo>
                <a:cubicBezTo>
                  <a:pt x="533" y="0"/>
                  <a:pt x="323" y="37"/>
                  <a:pt x="181" y="181"/>
                </a:cubicBezTo>
                <a:cubicBezTo>
                  <a:pt x="11" y="356"/>
                  <a:pt x="0" y="628"/>
                  <a:pt x="156" y="788"/>
                </a:cubicBezTo>
                <a:cubicBezTo>
                  <a:pt x="227" y="861"/>
                  <a:pt x="324" y="901"/>
                  <a:pt x="429" y="901"/>
                </a:cubicBezTo>
                <a:cubicBezTo>
                  <a:pt x="546" y="901"/>
                  <a:pt x="663" y="850"/>
                  <a:pt x="749" y="761"/>
                </a:cubicBezTo>
                <a:cubicBezTo>
                  <a:pt x="776" y="734"/>
                  <a:pt x="799" y="704"/>
                  <a:pt x="818" y="672"/>
                </a:cubicBezTo>
                <a:cubicBezTo>
                  <a:pt x="833" y="646"/>
                  <a:pt x="837" y="615"/>
                  <a:pt x="829" y="58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3" name="Freeform 45"/>
          <p:cNvSpPr>
            <a:spLocks noEditPoints="1"/>
          </p:cNvSpPr>
          <p:nvPr/>
        </p:nvSpPr>
        <p:spPr bwMode="auto">
          <a:xfrm>
            <a:off x="11601728" y="966788"/>
            <a:ext cx="360248" cy="347216"/>
          </a:xfrm>
          <a:custGeom>
            <a:avLst/>
            <a:gdLst>
              <a:gd name="T0" fmla="*/ 573 w 859"/>
              <a:gd name="T1" fmla="*/ 573 h 824"/>
              <a:gd name="T2" fmla="*/ 573 w 859"/>
              <a:gd name="T3" fmla="*/ 645 h 824"/>
              <a:gd name="T4" fmla="*/ 859 w 859"/>
              <a:gd name="T5" fmla="*/ 645 h 824"/>
              <a:gd name="T6" fmla="*/ 859 w 859"/>
              <a:gd name="T7" fmla="*/ 573 h 824"/>
              <a:gd name="T8" fmla="*/ 573 w 859"/>
              <a:gd name="T9" fmla="*/ 573 h 824"/>
              <a:gd name="T10" fmla="*/ 787 w 859"/>
              <a:gd name="T11" fmla="*/ 537 h 824"/>
              <a:gd name="T12" fmla="*/ 787 w 859"/>
              <a:gd name="T13" fmla="*/ 466 h 824"/>
              <a:gd name="T14" fmla="*/ 573 w 859"/>
              <a:gd name="T15" fmla="*/ 466 h 824"/>
              <a:gd name="T16" fmla="*/ 573 w 859"/>
              <a:gd name="T17" fmla="*/ 537 h 824"/>
              <a:gd name="T18" fmla="*/ 787 w 859"/>
              <a:gd name="T19" fmla="*/ 537 h 824"/>
              <a:gd name="T20" fmla="*/ 250 w 859"/>
              <a:gd name="T21" fmla="*/ 430 h 824"/>
              <a:gd name="T22" fmla="*/ 250 w 859"/>
              <a:gd name="T23" fmla="*/ 698 h 824"/>
              <a:gd name="T24" fmla="*/ 394 w 859"/>
              <a:gd name="T25" fmla="*/ 627 h 824"/>
              <a:gd name="T26" fmla="*/ 537 w 859"/>
              <a:gd name="T27" fmla="*/ 698 h 824"/>
              <a:gd name="T28" fmla="*/ 537 w 859"/>
              <a:gd name="T29" fmla="*/ 430 h 824"/>
              <a:gd name="T30" fmla="*/ 465 w 859"/>
              <a:gd name="T31" fmla="*/ 430 h 824"/>
              <a:gd name="T32" fmla="*/ 465 w 859"/>
              <a:gd name="T33" fmla="*/ 582 h 824"/>
              <a:gd name="T34" fmla="*/ 394 w 859"/>
              <a:gd name="T35" fmla="*/ 547 h 824"/>
              <a:gd name="T36" fmla="*/ 322 w 859"/>
              <a:gd name="T37" fmla="*/ 582 h 824"/>
              <a:gd name="T38" fmla="*/ 322 w 859"/>
              <a:gd name="T39" fmla="*/ 430 h 824"/>
              <a:gd name="T40" fmla="*/ 250 w 859"/>
              <a:gd name="T41" fmla="*/ 430 h 824"/>
              <a:gd name="T42" fmla="*/ 788 w 859"/>
              <a:gd name="T43" fmla="*/ 125 h 824"/>
              <a:gd name="T44" fmla="*/ 662 w 859"/>
              <a:gd name="T45" fmla="*/ 0 h 824"/>
              <a:gd name="T46" fmla="*/ 143 w 859"/>
              <a:gd name="T47" fmla="*/ 0 h 824"/>
              <a:gd name="T48" fmla="*/ 143 w 859"/>
              <a:gd name="T49" fmla="*/ 72 h 824"/>
              <a:gd name="T50" fmla="*/ 662 w 859"/>
              <a:gd name="T51" fmla="*/ 72 h 824"/>
              <a:gd name="T52" fmla="*/ 716 w 859"/>
              <a:gd name="T53" fmla="*/ 125 h 824"/>
              <a:gd name="T54" fmla="*/ 662 w 859"/>
              <a:gd name="T55" fmla="*/ 179 h 824"/>
              <a:gd name="T56" fmla="*/ 143 w 859"/>
              <a:gd name="T57" fmla="*/ 179 h 824"/>
              <a:gd name="T58" fmla="*/ 143 w 859"/>
              <a:gd name="T59" fmla="*/ 251 h 824"/>
              <a:gd name="T60" fmla="*/ 662 w 859"/>
              <a:gd name="T61" fmla="*/ 251 h 824"/>
              <a:gd name="T62" fmla="*/ 788 w 859"/>
              <a:gd name="T63" fmla="*/ 125 h 824"/>
              <a:gd name="T64" fmla="*/ 197 w 859"/>
              <a:gd name="T65" fmla="*/ 537 h 824"/>
              <a:gd name="T66" fmla="*/ 214 w 859"/>
              <a:gd name="T67" fmla="*/ 537 h 824"/>
              <a:gd name="T68" fmla="*/ 214 w 859"/>
              <a:gd name="T69" fmla="*/ 466 h 824"/>
              <a:gd name="T70" fmla="*/ 197 w 859"/>
              <a:gd name="T71" fmla="*/ 466 h 824"/>
              <a:gd name="T72" fmla="*/ 143 w 859"/>
              <a:gd name="T73" fmla="*/ 412 h 824"/>
              <a:gd name="T74" fmla="*/ 197 w 859"/>
              <a:gd name="T75" fmla="*/ 358 h 824"/>
              <a:gd name="T76" fmla="*/ 787 w 859"/>
              <a:gd name="T77" fmla="*/ 358 h 824"/>
              <a:gd name="T78" fmla="*/ 787 w 859"/>
              <a:gd name="T79" fmla="*/ 286 h 824"/>
              <a:gd name="T80" fmla="*/ 197 w 859"/>
              <a:gd name="T81" fmla="*/ 286 h 824"/>
              <a:gd name="T82" fmla="*/ 71 w 859"/>
              <a:gd name="T83" fmla="*/ 412 h 824"/>
              <a:gd name="T84" fmla="*/ 197 w 859"/>
              <a:gd name="T85" fmla="*/ 537 h 824"/>
              <a:gd name="T86" fmla="*/ 71 w 859"/>
              <a:gd name="T87" fmla="*/ 698 h 824"/>
              <a:gd name="T88" fmla="*/ 125 w 859"/>
              <a:gd name="T89" fmla="*/ 645 h 824"/>
              <a:gd name="T90" fmla="*/ 214 w 859"/>
              <a:gd name="T91" fmla="*/ 645 h 824"/>
              <a:gd name="T92" fmla="*/ 214 w 859"/>
              <a:gd name="T93" fmla="*/ 573 h 824"/>
              <a:gd name="T94" fmla="*/ 125 w 859"/>
              <a:gd name="T95" fmla="*/ 573 h 824"/>
              <a:gd name="T96" fmla="*/ 0 w 859"/>
              <a:gd name="T97" fmla="*/ 698 h 824"/>
              <a:gd name="T98" fmla="*/ 125 w 859"/>
              <a:gd name="T99" fmla="*/ 824 h 824"/>
              <a:gd name="T100" fmla="*/ 859 w 859"/>
              <a:gd name="T101" fmla="*/ 824 h 824"/>
              <a:gd name="T102" fmla="*/ 859 w 859"/>
              <a:gd name="T103" fmla="*/ 752 h 824"/>
              <a:gd name="T104" fmla="*/ 125 w 859"/>
              <a:gd name="T105" fmla="*/ 752 h 824"/>
              <a:gd name="T106" fmla="*/ 71 w 859"/>
              <a:gd name="T107" fmla="*/ 698 h 8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59" h="824">
                <a:moveTo>
                  <a:pt x="573" y="573"/>
                </a:moveTo>
                <a:lnTo>
                  <a:pt x="573" y="645"/>
                </a:lnTo>
                <a:lnTo>
                  <a:pt x="859" y="645"/>
                </a:lnTo>
                <a:lnTo>
                  <a:pt x="859" y="573"/>
                </a:lnTo>
                <a:lnTo>
                  <a:pt x="573" y="573"/>
                </a:lnTo>
                <a:close/>
                <a:moveTo>
                  <a:pt x="787" y="537"/>
                </a:moveTo>
                <a:lnTo>
                  <a:pt x="787" y="466"/>
                </a:lnTo>
                <a:lnTo>
                  <a:pt x="573" y="466"/>
                </a:lnTo>
                <a:lnTo>
                  <a:pt x="573" y="537"/>
                </a:lnTo>
                <a:lnTo>
                  <a:pt x="787" y="537"/>
                </a:lnTo>
                <a:close/>
                <a:moveTo>
                  <a:pt x="250" y="430"/>
                </a:moveTo>
                <a:lnTo>
                  <a:pt x="250" y="698"/>
                </a:lnTo>
                <a:lnTo>
                  <a:pt x="394" y="627"/>
                </a:lnTo>
                <a:lnTo>
                  <a:pt x="537" y="698"/>
                </a:lnTo>
                <a:lnTo>
                  <a:pt x="537" y="430"/>
                </a:lnTo>
                <a:lnTo>
                  <a:pt x="465" y="430"/>
                </a:lnTo>
                <a:lnTo>
                  <a:pt x="465" y="582"/>
                </a:lnTo>
                <a:lnTo>
                  <a:pt x="394" y="547"/>
                </a:lnTo>
                <a:lnTo>
                  <a:pt x="322" y="582"/>
                </a:lnTo>
                <a:lnTo>
                  <a:pt x="322" y="430"/>
                </a:lnTo>
                <a:lnTo>
                  <a:pt x="250" y="430"/>
                </a:lnTo>
                <a:close/>
                <a:moveTo>
                  <a:pt x="788" y="125"/>
                </a:moveTo>
                <a:cubicBezTo>
                  <a:pt x="788" y="56"/>
                  <a:pt x="731" y="0"/>
                  <a:pt x="662" y="0"/>
                </a:cubicBezTo>
                <a:lnTo>
                  <a:pt x="143" y="0"/>
                </a:lnTo>
                <a:lnTo>
                  <a:pt x="143" y="72"/>
                </a:lnTo>
                <a:lnTo>
                  <a:pt x="662" y="72"/>
                </a:lnTo>
                <a:cubicBezTo>
                  <a:pt x="692" y="72"/>
                  <a:pt x="716" y="96"/>
                  <a:pt x="716" y="125"/>
                </a:cubicBezTo>
                <a:cubicBezTo>
                  <a:pt x="716" y="155"/>
                  <a:pt x="692" y="179"/>
                  <a:pt x="662" y="179"/>
                </a:cubicBezTo>
                <a:lnTo>
                  <a:pt x="143" y="179"/>
                </a:lnTo>
                <a:lnTo>
                  <a:pt x="143" y="251"/>
                </a:lnTo>
                <a:lnTo>
                  <a:pt x="662" y="251"/>
                </a:lnTo>
                <a:cubicBezTo>
                  <a:pt x="731" y="251"/>
                  <a:pt x="788" y="194"/>
                  <a:pt x="788" y="125"/>
                </a:cubicBezTo>
                <a:close/>
                <a:moveTo>
                  <a:pt x="197" y="537"/>
                </a:moveTo>
                <a:lnTo>
                  <a:pt x="214" y="537"/>
                </a:lnTo>
                <a:lnTo>
                  <a:pt x="214" y="466"/>
                </a:lnTo>
                <a:lnTo>
                  <a:pt x="197" y="466"/>
                </a:lnTo>
                <a:cubicBezTo>
                  <a:pt x="167" y="466"/>
                  <a:pt x="143" y="441"/>
                  <a:pt x="143" y="412"/>
                </a:cubicBezTo>
                <a:cubicBezTo>
                  <a:pt x="143" y="382"/>
                  <a:pt x="167" y="358"/>
                  <a:pt x="197" y="358"/>
                </a:cubicBezTo>
                <a:lnTo>
                  <a:pt x="787" y="358"/>
                </a:lnTo>
                <a:lnTo>
                  <a:pt x="787" y="286"/>
                </a:lnTo>
                <a:lnTo>
                  <a:pt x="197" y="286"/>
                </a:lnTo>
                <a:cubicBezTo>
                  <a:pt x="128" y="286"/>
                  <a:pt x="71" y="343"/>
                  <a:pt x="71" y="412"/>
                </a:cubicBezTo>
                <a:cubicBezTo>
                  <a:pt x="71" y="481"/>
                  <a:pt x="128" y="537"/>
                  <a:pt x="197" y="537"/>
                </a:cubicBezTo>
                <a:close/>
                <a:moveTo>
                  <a:pt x="71" y="698"/>
                </a:moveTo>
                <a:cubicBezTo>
                  <a:pt x="71" y="669"/>
                  <a:pt x="95" y="645"/>
                  <a:pt x="125" y="645"/>
                </a:cubicBezTo>
                <a:lnTo>
                  <a:pt x="214" y="645"/>
                </a:lnTo>
                <a:lnTo>
                  <a:pt x="214" y="573"/>
                </a:lnTo>
                <a:lnTo>
                  <a:pt x="125" y="573"/>
                </a:lnTo>
                <a:cubicBezTo>
                  <a:pt x="56" y="573"/>
                  <a:pt x="0" y="629"/>
                  <a:pt x="0" y="698"/>
                </a:cubicBezTo>
                <a:cubicBezTo>
                  <a:pt x="0" y="767"/>
                  <a:pt x="56" y="824"/>
                  <a:pt x="125" y="824"/>
                </a:cubicBezTo>
                <a:lnTo>
                  <a:pt x="859" y="824"/>
                </a:lnTo>
                <a:lnTo>
                  <a:pt x="859" y="752"/>
                </a:lnTo>
                <a:lnTo>
                  <a:pt x="125" y="752"/>
                </a:lnTo>
                <a:cubicBezTo>
                  <a:pt x="95" y="752"/>
                  <a:pt x="71" y="728"/>
                  <a:pt x="71" y="69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89" name="Freeform 46"/>
          <p:cNvSpPr>
            <a:spLocks noEditPoints="1"/>
          </p:cNvSpPr>
          <p:nvPr/>
        </p:nvSpPr>
        <p:spPr bwMode="auto">
          <a:xfrm>
            <a:off x="11655949" y="3977824"/>
            <a:ext cx="251807" cy="363751"/>
          </a:xfrm>
          <a:custGeom>
            <a:avLst/>
            <a:gdLst>
              <a:gd name="T0" fmla="*/ 275 w 598"/>
              <a:gd name="T1" fmla="*/ 251 h 860"/>
              <a:gd name="T2" fmla="*/ 347 w 598"/>
              <a:gd name="T3" fmla="*/ 179 h 860"/>
              <a:gd name="T4" fmla="*/ 419 w 598"/>
              <a:gd name="T5" fmla="*/ 251 h 860"/>
              <a:gd name="T6" fmla="*/ 347 w 598"/>
              <a:gd name="T7" fmla="*/ 322 h 860"/>
              <a:gd name="T8" fmla="*/ 275 w 598"/>
              <a:gd name="T9" fmla="*/ 251 h 860"/>
              <a:gd name="T10" fmla="*/ 598 w 598"/>
              <a:gd name="T11" fmla="*/ 752 h 860"/>
              <a:gd name="T12" fmla="*/ 449 w 598"/>
              <a:gd name="T13" fmla="*/ 352 h 860"/>
              <a:gd name="T14" fmla="*/ 490 w 598"/>
              <a:gd name="T15" fmla="*/ 251 h 860"/>
              <a:gd name="T16" fmla="*/ 383 w 598"/>
              <a:gd name="T17" fmla="*/ 113 h 860"/>
              <a:gd name="T18" fmla="*/ 383 w 598"/>
              <a:gd name="T19" fmla="*/ 36 h 860"/>
              <a:gd name="T20" fmla="*/ 347 w 598"/>
              <a:gd name="T21" fmla="*/ 0 h 860"/>
              <a:gd name="T22" fmla="*/ 311 w 598"/>
              <a:gd name="T23" fmla="*/ 36 h 860"/>
              <a:gd name="T24" fmla="*/ 311 w 598"/>
              <a:gd name="T25" fmla="*/ 113 h 860"/>
              <a:gd name="T26" fmla="*/ 204 w 598"/>
              <a:gd name="T27" fmla="*/ 251 h 860"/>
              <a:gd name="T28" fmla="*/ 245 w 598"/>
              <a:gd name="T29" fmla="*/ 352 h 860"/>
              <a:gd name="T30" fmla="*/ 196 w 598"/>
              <a:gd name="T31" fmla="*/ 485 h 860"/>
              <a:gd name="T32" fmla="*/ 260 w 598"/>
              <a:gd name="T33" fmla="*/ 519 h 860"/>
              <a:gd name="T34" fmla="*/ 308 w 598"/>
              <a:gd name="T35" fmla="*/ 388 h 860"/>
              <a:gd name="T36" fmla="*/ 347 w 598"/>
              <a:gd name="T37" fmla="*/ 394 h 860"/>
              <a:gd name="T38" fmla="*/ 386 w 598"/>
              <a:gd name="T39" fmla="*/ 388 h 860"/>
              <a:gd name="T40" fmla="*/ 459 w 598"/>
              <a:gd name="T41" fmla="*/ 586 h 860"/>
              <a:gd name="T42" fmla="*/ 347 w 598"/>
              <a:gd name="T43" fmla="*/ 607 h 860"/>
              <a:gd name="T44" fmla="*/ 72 w 598"/>
              <a:gd name="T45" fmla="*/ 453 h 860"/>
              <a:gd name="T46" fmla="*/ 26 w 598"/>
              <a:gd name="T47" fmla="*/ 440 h 860"/>
              <a:gd name="T48" fmla="*/ 11 w 598"/>
              <a:gd name="T49" fmla="*/ 491 h 860"/>
              <a:gd name="T50" fmla="*/ 145 w 598"/>
              <a:gd name="T51" fmla="*/ 623 h 860"/>
              <a:gd name="T52" fmla="*/ 96 w 598"/>
              <a:gd name="T53" fmla="*/ 752 h 860"/>
              <a:gd name="T54" fmla="*/ 134 w 598"/>
              <a:gd name="T55" fmla="*/ 860 h 860"/>
              <a:gd name="T56" fmla="*/ 210 w 598"/>
              <a:gd name="T57" fmla="*/ 654 h 860"/>
              <a:gd name="T58" fmla="*/ 347 w 598"/>
              <a:gd name="T59" fmla="*/ 679 h 860"/>
              <a:gd name="T60" fmla="*/ 483 w 598"/>
              <a:gd name="T61" fmla="*/ 653 h 860"/>
              <a:gd name="T62" fmla="*/ 560 w 598"/>
              <a:gd name="T63" fmla="*/ 860 h 860"/>
              <a:gd name="T64" fmla="*/ 598 w 598"/>
              <a:gd name="T65" fmla="*/ 752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98" h="860">
                <a:moveTo>
                  <a:pt x="275" y="251"/>
                </a:moveTo>
                <a:cubicBezTo>
                  <a:pt x="275" y="211"/>
                  <a:pt x="307" y="179"/>
                  <a:pt x="347" y="179"/>
                </a:cubicBezTo>
                <a:cubicBezTo>
                  <a:pt x="386" y="179"/>
                  <a:pt x="419" y="211"/>
                  <a:pt x="419" y="251"/>
                </a:cubicBezTo>
                <a:cubicBezTo>
                  <a:pt x="419" y="290"/>
                  <a:pt x="386" y="322"/>
                  <a:pt x="347" y="322"/>
                </a:cubicBezTo>
                <a:cubicBezTo>
                  <a:pt x="307" y="322"/>
                  <a:pt x="275" y="290"/>
                  <a:pt x="275" y="251"/>
                </a:cubicBezTo>
                <a:close/>
                <a:moveTo>
                  <a:pt x="598" y="752"/>
                </a:moveTo>
                <a:lnTo>
                  <a:pt x="449" y="352"/>
                </a:lnTo>
                <a:cubicBezTo>
                  <a:pt x="474" y="326"/>
                  <a:pt x="490" y="290"/>
                  <a:pt x="490" y="251"/>
                </a:cubicBezTo>
                <a:cubicBezTo>
                  <a:pt x="490" y="184"/>
                  <a:pt x="444" y="129"/>
                  <a:pt x="383" y="113"/>
                </a:cubicBezTo>
                <a:lnTo>
                  <a:pt x="383" y="36"/>
                </a:lnTo>
                <a:cubicBezTo>
                  <a:pt x="383" y="16"/>
                  <a:pt x="367" y="0"/>
                  <a:pt x="347" y="0"/>
                </a:cubicBezTo>
                <a:cubicBezTo>
                  <a:pt x="327" y="0"/>
                  <a:pt x="311" y="16"/>
                  <a:pt x="311" y="36"/>
                </a:cubicBezTo>
                <a:lnTo>
                  <a:pt x="311" y="113"/>
                </a:lnTo>
                <a:cubicBezTo>
                  <a:pt x="250" y="129"/>
                  <a:pt x="204" y="184"/>
                  <a:pt x="204" y="251"/>
                </a:cubicBezTo>
                <a:cubicBezTo>
                  <a:pt x="204" y="290"/>
                  <a:pt x="220" y="326"/>
                  <a:pt x="245" y="352"/>
                </a:cubicBezTo>
                <a:lnTo>
                  <a:pt x="196" y="485"/>
                </a:lnTo>
                <a:cubicBezTo>
                  <a:pt x="216" y="499"/>
                  <a:pt x="237" y="511"/>
                  <a:pt x="260" y="519"/>
                </a:cubicBezTo>
                <a:lnTo>
                  <a:pt x="308" y="388"/>
                </a:lnTo>
                <a:cubicBezTo>
                  <a:pt x="321" y="392"/>
                  <a:pt x="333" y="394"/>
                  <a:pt x="347" y="394"/>
                </a:cubicBezTo>
                <a:cubicBezTo>
                  <a:pt x="361" y="394"/>
                  <a:pt x="373" y="392"/>
                  <a:pt x="386" y="388"/>
                </a:cubicBezTo>
                <a:lnTo>
                  <a:pt x="459" y="586"/>
                </a:lnTo>
                <a:cubicBezTo>
                  <a:pt x="423" y="599"/>
                  <a:pt x="386" y="607"/>
                  <a:pt x="347" y="607"/>
                </a:cubicBezTo>
                <a:cubicBezTo>
                  <a:pt x="233" y="607"/>
                  <a:pt x="130" y="549"/>
                  <a:pt x="72" y="453"/>
                </a:cubicBezTo>
                <a:cubicBezTo>
                  <a:pt x="63" y="438"/>
                  <a:pt x="43" y="432"/>
                  <a:pt x="26" y="440"/>
                </a:cubicBezTo>
                <a:cubicBezTo>
                  <a:pt x="7" y="449"/>
                  <a:pt x="0" y="473"/>
                  <a:pt x="11" y="491"/>
                </a:cubicBezTo>
                <a:cubicBezTo>
                  <a:pt x="45" y="547"/>
                  <a:pt x="92" y="591"/>
                  <a:pt x="145" y="623"/>
                </a:cubicBezTo>
                <a:lnTo>
                  <a:pt x="96" y="752"/>
                </a:lnTo>
                <a:lnTo>
                  <a:pt x="134" y="860"/>
                </a:lnTo>
                <a:lnTo>
                  <a:pt x="210" y="654"/>
                </a:lnTo>
                <a:cubicBezTo>
                  <a:pt x="253" y="670"/>
                  <a:pt x="299" y="679"/>
                  <a:pt x="347" y="679"/>
                </a:cubicBezTo>
                <a:cubicBezTo>
                  <a:pt x="394" y="679"/>
                  <a:pt x="440" y="669"/>
                  <a:pt x="483" y="653"/>
                </a:cubicBezTo>
                <a:lnTo>
                  <a:pt x="560" y="860"/>
                </a:lnTo>
                <a:lnTo>
                  <a:pt x="598" y="75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5" name="Freeform 52"/>
          <p:cNvSpPr>
            <a:spLocks noEditPoints="1"/>
          </p:cNvSpPr>
          <p:nvPr/>
        </p:nvSpPr>
        <p:spPr bwMode="auto">
          <a:xfrm>
            <a:off x="11605404" y="3223075"/>
            <a:ext cx="352896" cy="363751"/>
          </a:xfrm>
          <a:custGeom>
            <a:avLst/>
            <a:gdLst>
              <a:gd name="T0" fmla="*/ 179 w 839"/>
              <a:gd name="T1" fmla="*/ 143 h 860"/>
              <a:gd name="T2" fmla="*/ 609 w 839"/>
              <a:gd name="T3" fmla="*/ 143 h 860"/>
              <a:gd name="T4" fmla="*/ 609 w 839"/>
              <a:gd name="T5" fmla="*/ 269 h 860"/>
              <a:gd name="T6" fmla="*/ 474 w 839"/>
              <a:gd name="T7" fmla="*/ 383 h 860"/>
              <a:gd name="T8" fmla="*/ 526 w 839"/>
              <a:gd name="T9" fmla="*/ 440 h 860"/>
              <a:gd name="T10" fmla="*/ 839 w 839"/>
              <a:gd name="T11" fmla="*/ 208 h 860"/>
              <a:gd name="T12" fmla="*/ 781 w 839"/>
              <a:gd name="T13" fmla="*/ 151 h 860"/>
              <a:gd name="T14" fmla="*/ 680 w 839"/>
              <a:gd name="T15" fmla="*/ 215 h 860"/>
              <a:gd name="T16" fmla="*/ 680 w 839"/>
              <a:gd name="T17" fmla="*/ 72 h 860"/>
              <a:gd name="T18" fmla="*/ 430 w 839"/>
              <a:gd name="T19" fmla="*/ 72 h 860"/>
              <a:gd name="T20" fmla="*/ 430 w 839"/>
              <a:gd name="T21" fmla="*/ 0 h 860"/>
              <a:gd name="T22" fmla="*/ 358 w 839"/>
              <a:gd name="T23" fmla="*/ 0 h 860"/>
              <a:gd name="T24" fmla="*/ 358 w 839"/>
              <a:gd name="T25" fmla="*/ 72 h 860"/>
              <a:gd name="T26" fmla="*/ 107 w 839"/>
              <a:gd name="T27" fmla="*/ 72 h 860"/>
              <a:gd name="T28" fmla="*/ 107 w 839"/>
              <a:gd name="T29" fmla="*/ 537 h 860"/>
              <a:gd name="T30" fmla="*/ 179 w 839"/>
              <a:gd name="T31" fmla="*/ 537 h 860"/>
              <a:gd name="T32" fmla="*/ 179 w 839"/>
              <a:gd name="T33" fmla="*/ 143 h 860"/>
              <a:gd name="T34" fmla="*/ 680 w 839"/>
              <a:gd name="T35" fmla="*/ 537 h 860"/>
              <a:gd name="T36" fmla="*/ 680 w 839"/>
              <a:gd name="T37" fmla="*/ 393 h 860"/>
              <a:gd name="T38" fmla="*/ 609 w 839"/>
              <a:gd name="T39" fmla="*/ 447 h 860"/>
              <a:gd name="T40" fmla="*/ 609 w 839"/>
              <a:gd name="T41" fmla="*/ 537 h 860"/>
              <a:gd name="T42" fmla="*/ 680 w 839"/>
              <a:gd name="T43" fmla="*/ 537 h 860"/>
              <a:gd name="T44" fmla="*/ 371 w 839"/>
              <a:gd name="T45" fmla="*/ 473 h 860"/>
              <a:gd name="T46" fmla="*/ 414 w 839"/>
              <a:gd name="T47" fmla="*/ 530 h 860"/>
              <a:gd name="T48" fmla="*/ 506 w 839"/>
              <a:gd name="T49" fmla="*/ 461 h 860"/>
              <a:gd name="T50" fmla="*/ 463 w 839"/>
              <a:gd name="T51" fmla="*/ 404 h 860"/>
              <a:gd name="T52" fmla="*/ 371 w 839"/>
              <a:gd name="T53" fmla="*/ 473 h 860"/>
              <a:gd name="T54" fmla="*/ 0 w 839"/>
              <a:gd name="T55" fmla="*/ 681 h 860"/>
              <a:gd name="T56" fmla="*/ 233 w 839"/>
              <a:gd name="T57" fmla="*/ 681 h 860"/>
              <a:gd name="T58" fmla="*/ 166 w 839"/>
              <a:gd name="T59" fmla="*/ 860 h 860"/>
              <a:gd name="T60" fmla="*/ 243 w 839"/>
              <a:gd name="T61" fmla="*/ 860 h 860"/>
              <a:gd name="T62" fmla="*/ 310 w 839"/>
              <a:gd name="T63" fmla="*/ 681 h 860"/>
              <a:gd name="T64" fmla="*/ 358 w 839"/>
              <a:gd name="T65" fmla="*/ 681 h 860"/>
              <a:gd name="T66" fmla="*/ 358 w 839"/>
              <a:gd name="T67" fmla="*/ 860 h 860"/>
              <a:gd name="T68" fmla="*/ 430 w 839"/>
              <a:gd name="T69" fmla="*/ 860 h 860"/>
              <a:gd name="T70" fmla="*/ 430 w 839"/>
              <a:gd name="T71" fmla="*/ 681 h 860"/>
              <a:gd name="T72" fmla="*/ 547 w 839"/>
              <a:gd name="T73" fmla="*/ 681 h 860"/>
              <a:gd name="T74" fmla="*/ 614 w 839"/>
              <a:gd name="T75" fmla="*/ 860 h 860"/>
              <a:gd name="T76" fmla="*/ 690 w 839"/>
              <a:gd name="T77" fmla="*/ 860 h 860"/>
              <a:gd name="T78" fmla="*/ 623 w 839"/>
              <a:gd name="T79" fmla="*/ 681 h 860"/>
              <a:gd name="T80" fmla="*/ 788 w 839"/>
              <a:gd name="T81" fmla="*/ 681 h 860"/>
              <a:gd name="T82" fmla="*/ 788 w 839"/>
              <a:gd name="T83" fmla="*/ 609 h 860"/>
              <a:gd name="T84" fmla="*/ 0 w 839"/>
              <a:gd name="T85" fmla="*/ 609 h 860"/>
              <a:gd name="T86" fmla="*/ 0 w 839"/>
              <a:gd name="T87" fmla="*/ 681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39" h="860">
                <a:moveTo>
                  <a:pt x="179" y="143"/>
                </a:moveTo>
                <a:lnTo>
                  <a:pt x="609" y="143"/>
                </a:lnTo>
                <a:lnTo>
                  <a:pt x="609" y="269"/>
                </a:lnTo>
                <a:lnTo>
                  <a:pt x="474" y="383"/>
                </a:lnTo>
                <a:lnTo>
                  <a:pt x="526" y="440"/>
                </a:lnTo>
                <a:lnTo>
                  <a:pt x="839" y="208"/>
                </a:lnTo>
                <a:lnTo>
                  <a:pt x="781" y="151"/>
                </a:lnTo>
                <a:lnTo>
                  <a:pt x="680" y="215"/>
                </a:lnTo>
                <a:lnTo>
                  <a:pt x="680" y="72"/>
                </a:lnTo>
                <a:lnTo>
                  <a:pt x="430" y="72"/>
                </a:lnTo>
                <a:lnTo>
                  <a:pt x="430" y="0"/>
                </a:lnTo>
                <a:lnTo>
                  <a:pt x="358" y="0"/>
                </a:lnTo>
                <a:lnTo>
                  <a:pt x="358" y="72"/>
                </a:lnTo>
                <a:lnTo>
                  <a:pt x="107" y="72"/>
                </a:lnTo>
                <a:lnTo>
                  <a:pt x="107" y="537"/>
                </a:lnTo>
                <a:lnTo>
                  <a:pt x="179" y="537"/>
                </a:lnTo>
                <a:lnTo>
                  <a:pt x="179" y="143"/>
                </a:lnTo>
                <a:close/>
                <a:moveTo>
                  <a:pt x="680" y="537"/>
                </a:moveTo>
                <a:lnTo>
                  <a:pt x="680" y="393"/>
                </a:lnTo>
                <a:lnTo>
                  <a:pt x="609" y="447"/>
                </a:lnTo>
                <a:lnTo>
                  <a:pt x="609" y="537"/>
                </a:lnTo>
                <a:lnTo>
                  <a:pt x="680" y="537"/>
                </a:lnTo>
                <a:close/>
                <a:moveTo>
                  <a:pt x="371" y="473"/>
                </a:moveTo>
                <a:lnTo>
                  <a:pt x="414" y="530"/>
                </a:lnTo>
                <a:lnTo>
                  <a:pt x="506" y="461"/>
                </a:lnTo>
                <a:lnTo>
                  <a:pt x="463" y="404"/>
                </a:lnTo>
                <a:lnTo>
                  <a:pt x="371" y="473"/>
                </a:lnTo>
                <a:close/>
                <a:moveTo>
                  <a:pt x="0" y="681"/>
                </a:moveTo>
                <a:lnTo>
                  <a:pt x="233" y="681"/>
                </a:lnTo>
                <a:lnTo>
                  <a:pt x="166" y="860"/>
                </a:lnTo>
                <a:lnTo>
                  <a:pt x="243" y="860"/>
                </a:lnTo>
                <a:lnTo>
                  <a:pt x="310" y="681"/>
                </a:lnTo>
                <a:lnTo>
                  <a:pt x="358" y="681"/>
                </a:lnTo>
                <a:lnTo>
                  <a:pt x="358" y="860"/>
                </a:lnTo>
                <a:lnTo>
                  <a:pt x="430" y="860"/>
                </a:lnTo>
                <a:lnTo>
                  <a:pt x="430" y="681"/>
                </a:lnTo>
                <a:lnTo>
                  <a:pt x="547" y="681"/>
                </a:lnTo>
                <a:lnTo>
                  <a:pt x="614" y="860"/>
                </a:lnTo>
                <a:lnTo>
                  <a:pt x="690" y="860"/>
                </a:lnTo>
                <a:lnTo>
                  <a:pt x="623" y="681"/>
                </a:lnTo>
                <a:lnTo>
                  <a:pt x="788" y="681"/>
                </a:lnTo>
                <a:lnTo>
                  <a:pt x="788" y="609"/>
                </a:lnTo>
                <a:lnTo>
                  <a:pt x="0" y="609"/>
                </a:lnTo>
                <a:lnTo>
                  <a:pt x="0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6" name="Freeform 53"/>
          <p:cNvSpPr>
            <a:spLocks noEditPoints="1"/>
          </p:cNvSpPr>
          <p:nvPr/>
        </p:nvSpPr>
        <p:spPr bwMode="auto">
          <a:xfrm>
            <a:off x="11594376" y="6260448"/>
            <a:ext cx="374952" cy="327005"/>
          </a:xfrm>
          <a:custGeom>
            <a:avLst/>
            <a:gdLst>
              <a:gd name="T0" fmla="*/ 408 w 888"/>
              <a:gd name="T1" fmla="*/ 61 h 777"/>
              <a:gd name="T2" fmla="*/ 337 w 888"/>
              <a:gd name="T3" fmla="*/ 61 h 777"/>
              <a:gd name="T4" fmla="*/ 337 w 888"/>
              <a:gd name="T5" fmla="*/ 539 h 777"/>
              <a:gd name="T6" fmla="*/ 408 w 888"/>
              <a:gd name="T7" fmla="*/ 556 h 777"/>
              <a:gd name="T8" fmla="*/ 408 w 888"/>
              <a:gd name="T9" fmla="*/ 61 h 777"/>
              <a:gd name="T10" fmla="*/ 552 w 888"/>
              <a:gd name="T11" fmla="*/ 61 h 777"/>
              <a:gd name="T12" fmla="*/ 480 w 888"/>
              <a:gd name="T13" fmla="*/ 61 h 777"/>
              <a:gd name="T14" fmla="*/ 480 w 888"/>
              <a:gd name="T15" fmla="*/ 556 h 777"/>
              <a:gd name="T16" fmla="*/ 552 w 888"/>
              <a:gd name="T17" fmla="*/ 539 h 777"/>
              <a:gd name="T18" fmla="*/ 552 w 888"/>
              <a:gd name="T19" fmla="*/ 61 h 777"/>
              <a:gd name="T20" fmla="*/ 829 w 888"/>
              <a:gd name="T21" fmla="*/ 27 h 777"/>
              <a:gd name="T22" fmla="*/ 734 w 888"/>
              <a:gd name="T23" fmla="*/ 5 h 777"/>
              <a:gd name="T24" fmla="*/ 652 w 888"/>
              <a:gd name="T25" fmla="*/ 56 h 777"/>
              <a:gd name="T26" fmla="*/ 696 w 888"/>
              <a:gd name="T27" fmla="*/ 357 h 777"/>
              <a:gd name="T28" fmla="*/ 634 w 888"/>
              <a:gd name="T29" fmla="*/ 526 h 777"/>
              <a:gd name="T30" fmla="*/ 444 w 888"/>
              <a:gd name="T31" fmla="*/ 595 h 777"/>
              <a:gd name="T32" fmla="*/ 254 w 888"/>
              <a:gd name="T33" fmla="*/ 526 h 777"/>
              <a:gd name="T34" fmla="*/ 193 w 888"/>
              <a:gd name="T35" fmla="*/ 357 h 777"/>
              <a:gd name="T36" fmla="*/ 237 w 888"/>
              <a:gd name="T37" fmla="*/ 57 h 777"/>
              <a:gd name="T38" fmla="*/ 155 w 888"/>
              <a:gd name="T39" fmla="*/ 5 h 777"/>
              <a:gd name="T40" fmla="*/ 60 w 888"/>
              <a:gd name="T41" fmla="*/ 27 h 777"/>
              <a:gd name="T42" fmla="*/ 35 w 888"/>
              <a:gd name="T43" fmla="*/ 179 h 777"/>
              <a:gd name="T44" fmla="*/ 92 w 888"/>
              <a:gd name="T45" fmla="*/ 216 h 777"/>
              <a:gd name="T46" fmla="*/ 134 w 888"/>
              <a:gd name="T47" fmla="*/ 189 h 777"/>
              <a:gd name="T48" fmla="*/ 107 w 888"/>
              <a:gd name="T49" fmla="*/ 146 h 777"/>
              <a:gd name="T50" fmla="*/ 93 w 888"/>
              <a:gd name="T51" fmla="*/ 137 h 777"/>
              <a:gd name="T52" fmla="*/ 102 w 888"/>
              <a:gd name="T53" fmla="*/ 85 h 777"/>
              <a:gd name="T54" fmla="*/ 143 w 888"/>
              <a:gd name="T55" fmla="*/ 76 h 777"/>
              <a:gd name="T56" fmla="*/ 179 w 888"/>
              <a:gd name="T57" fmla="*/ 99 h 777"/>
              <a:gd name="T58" fmla="*/ 130 w 888"/>
              <a:gd name="T59" fmla="*/ 321 h 777"/>
              <a:gd name="T60" fmla="*/ 122 w 888"/>
              <a:gd name="T61" fmla="*/ 330 h 777"/>
              <a:gd name="T62" fmla="*/ 122 w 888"/>
              <a:gd name="T63" fmla="*/ 341 h 777"/>
              <a:gd name="T64" fmla="*/ 202 w 888"/>
              <a:gd name="T65" fmla="*/ 575 h 777"/>
              <a:gd name="T66" fmla="*/ 445 w 888"/>
              <a:gd name="T67" fmla="*/ 666 h 777"/>
              <a:gd name="T68" fmla="*/ 687 w 888"/>
              <a:gd name="T69" fmla="*/ 575 h 777"/>
              <a:gd name="T70" fmla="*/ 767 w 888"/>
              <a:gd name="T71" fmla="*/ 341 h 777"/>
              <a:gd name="T72" fmla="*/ 766 w 888"/>
              <a:gd name="T73" fmla="*/ 330 h 777"/>
              <a:gd name="T74" fmla="*/ 759 w 888"/>
              <a:gd name="T75" fmla="*/ 321 h 777"/>
              <a:gd name="T76" fmla="*/ 710 w 888"/>
              <a:gd name="T77" fmla="*/ 98 h 777"/>
              <a:gd name="T78" fmla="*/ 746 w 888"/>
              <a:gd name="T79" fmla="*/ 76 h 777"/>
              <a:gd name="T80" fmla="*/ 787 w 888"/>
              <a:gd name="T81" fmla="*/ 85 h 777"/>
              <a:gd name="T82" fmla="*/ 795 w 888"/>
              <a:gd name="T83" fmla="*/ 137 h 777"/>
              <a:gd name="T84" fmla="*/ 782 w 888"/>
              <a:gd name="T85" fmla="*/ 146 h 777"/>
              <a:gd name="T86" fmla="*/ 754 w 888"/>
              <a:gd name="T87" fmla="*/ 189 h 777"/>
              <a:gd name="T88" fmla="*/ 797 w 888"/>
              <a:gd name="T89" fmla="*/ 216 h 777"/>
              <a:gd name="T90" fmla="*/ 854 w 888"/>
              <a:gd name="T91" fmla="*/ 179 h 777"/>
              <a:gd name="T92" fmla="*/ 829 w 888"/>
              <a:gd name="T93" fmla="*/ 27 h 777"/>
              <a:gd name="T94" fmla="*/ 301 w 888"/>
              <a:gd name="T95" fmla="*/ 777 h 777"/>
              <a:gd name="T96" fmla="*/ 587 w 888"/>
              <a:gd name="T97" fmla="*/ 777 h 777"/>
              <a:gd name="T98" fmla="*/ 587 w 888"/>
              <a:gd name="T99" fmla="*/ 705 h 777"/>
              <a:gd name="T100" fmla="*/ 301 w 888"/>
              <a:gd name="T101" fmla="*/ 705 h 777"/>
              <a:gd name="T102" fmla="*/ 301 w 888"/>
              <a:gd name="T103" fmla="*/ 777 h 7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888" h="777">
                <a:moveTo>
                  <a:pt x="408" y="61"/>
                </a:moveTo>
                <a:lnTo>
                  <a:pt x="337" y="61"/>
                </a:lnTo>
                <a:lnTo>
                  <a:pt x="337" y="539"/>
                </a:lnTo>
                <a:cubicBezTo>
                  <a:pt x="372" y="548"/>
                  <a:pt x="372" y="554"/>
                  <a:pt x="408" y="556"/>
                </a:cubicBezTo>
                <a:lnTo>
                  <a:pt x="408" y="61"/>
                </a:lnTo>
                <a:close/>
                <a:moveTo>
                  <a:pt x="552" y="61"/>
                </a:moveTo>
                <a:lnTo>
                  <a:pt x="480" y="61"/>
                </a:lnTo>
                <a:lnTo>
                  <a:pt x="480" y="556"/>
                </a:lnTo>
                <a:cubicBezTo>
                  <a:pt x="516" y="554"/>
                  <a:pt x="516" y="548"/>
                  <a:pt x="552" y="539"/>
                </a:cubicBezTo>
                <a:lnTo>
                  <a:pt x="552" y="61"/>
                </a:lnTo>
                <a:close/>
                <a:moveTo>
                  <a:pt x="829" y="27"/>
                </a:moveTo>
                <a:cubicBezTo>
                  <a:pt x="801" y="8"/>
                  <a:pt x="768" y="0"/>
                  <a:pt x="734" y="5"/>
                </a:cubicBezTo>
                <a:cubicBezTo>
                  <a:pt x="700" y="11"/>
                  <a:pt x="671" y="29"/>
                  <a:pt x="652" y="56"/>
                </a:cubicBezTo>
                <a:cubicBezTo>
                  <a:pt x="591" y="139"/>
                  <a:pt x="637" y="279"/>
                  <a:pt x="696" y="357"/>
                </a:cubicBezTo>
                <a:cubicBezTo>
                  <a:pt x="695" y="386"/>
                  <a:pt x="689" y="468"/>
                  <a:pt x="634" y="526"/>
                </a:cubicBezTo>
                <a:cubicBezTo>
                  <a:pt x="592" y="572"/>
                  <a:pt x="528" y="595"/>
                  <a:pt x="444" y="595"/>
                </a:cubicBezTo>
                <a:cubicBezTo>
                  <a:pt x="361" y="595"/>
                  <a:pt x="297" y="572"/>
                  <a:pt x="254" y="526"/>
                </a:cubicBezTo>
                <a:cubicBezTo>
                  <a:pt x="199" y="468"/>
                  <a:pt x="193" y="385"/>
                  <a:pt x="193" y="357"/>
                </a:cubicBezTo>
                <a:cubicBezTo>
                  <a:pt x="252" y="279"/>
                  <a:pt x="298" y="139"/>
                  <a:pt x="237" y="57"/>
                </a:cubicBezTo>
                <a:cubicBezTo>
                  <a:pt x="217" y="29"/>
                  <a:pt x="188" y="11"/>
                  <a:pt x="155" y="5"/>
                </a:cubicBezTo>
                <a:cubicBezTo>
                  <a:pt x="121" y="0"/>
                  <a:pt x="87" y="8"/>
                  <a:pt x="60" y="27"/>
                </a:cubicBezTo>
                <a:cubicBezTo>
                  <a:pt x="11" y="63"/>
                  <a:pt x="0" y="130"/>
                  <a:pt x="35" y="179"/>
                </a:cubicBezTo>
                <a:cubicBezTo>
                  <a:pt x="49" y="198"/>
                  <a:pt x="69" y="212"/>
                  <a:pt x="92" y="216"/>
                </a:cubicBezTo>
                <a:cubicBezTo>
                  <a:pt x="111" y="220"/>
                  <a:pt x="130" y="208"/>
                  <a:pt x="134" y="189"/>
                </a:cubicBezTo>
                <a:cubicBezTo>
                  <a:pt x="138" y="169"/>
                  <a:pt x="126" y="150"/>
                  <a:pt x="107" y="146"/>
                </a:cubicBezTo>
                <a:cubicBezTo>
                  <a:pt x="101" y="145"/>
                  <a:pt x="96" y="142"/>
                  <a:pt x="93" y="137"/>
                </a:cubicBezTo>
                <a:cubicBezTo>
                  <a:pt x="81" y="121"/>
                  <a:pt x="85" y="97"/>
                  <a:pt x="102" y="85"/>
                </a:cubicBezTo>
                <a:cubicBezTo>
                  <a:pt x="114" y="77"/>
                  <a:pt x="128" y="73"/>
                  <a:pt x="143" y="76"/>
                </a:cubicBezTo>
                <a:cubicBezTo>
                  <a:pt x="157" y="78"/>
                  <a:pt x="170" y="86"/>
                  <a:pt x="179" y="99"/>
                </a:cubicBezTo>
                <a:cubicBezTo>
                  <a:pt x="215" y="148"/>
                  <a:pt x="182" y="259"/>
                  <a:pt x="130" y="321"/>
                </a:cubicBezTo>
                <a:lnTo>
                  <a:pt x="122" y="330"/>
                </a:lnTo>
                <a:lnTo>
                  <a:pt x="122" y="341"/>
                </a:lnTo>
                <a:cubicBezTo>
                  <a:pt x="121" y="347"/>
                  <a:pt x="113" y="480"/>
                  <a:pt x="202" y="575"/>
                </a:cubicBezTo>
                <a:cubicBezTo>
                  <a:pt x="258" y="636"/>
                  <a:pt x="340" y="666"/>
                  <a:pt x="445" y="666"/>
                </a:cubicBezTo>
                <a:cubicBezTo>
                  <a:pt x="549" y="666"/>
                  <a:pt x="630" y="636"/>
                  <a:pt x="687" y="575"/>
                </a:cubicBezTo>
                <a:cubicBezTo>
                  <a:pt x="775" y="480"/>
                  <a:pt x="767" y="347"/>
                  <a:pt x="767" y="341"/>
                </a:cubicBezTo>
                <a:lnTo>
                  <a:pt x="766" y="330"/>
                </a:lnTo>
                <a:lnTo>
                  <a:pt x="759" y="321"/>
                </a:lnTo>
                <a:cubicBezTo>
                  <a:pt x="706" y="259"/>
                  <a:pt x="673" y="148"/>
                  <a:pt x="710" y="98"/>
                </a:cubicBezTo>
                <a:cubicBezTo>
                  <a:pt x="718" y="86"/>
                  <a:pt x="731" y="78"/>
                  <a:pt x="746" y="76"/>
                </a:cubicBezTo>
                <a:cubicBezTo>
                  <a:pt x="760" y="73"/>
                  <a:pt x="775" y="77"/>
                  <a:pt x="787" y="85"/>
                </a:cubicBezTo>
                <a:cubicBezTo>
                  <a:pt x="803" y="97"/>
                  <a:pt x="807" y="121"/>
                  <a:pt x="795" y="137"/>
                </a:cubicBezTo>
                <a:cubicBezTo>
                  <a:pt x="792" y="142"/>
                  <a:pt x="787" y="145"/>
                  <a:pt x="782" y="146"/>
                </a:cubicBezTo>
                <a:cubicBezTo>
                  <a:pt x="762" y="150"/>
                  <a:pt x="750" y="169"/>
                  <a:pt x="754" y="189"/>
                </a:cubicBezTo>
                <a:cubicBezTo>
                  <a:pt x="758" y="208"/>
                  <a:pt x="777" y="220"/>
                  <a:pt x="797" y="216"/>
                </a:cubicBezTo>
                <a:cubicBezTo>
                  <a:pt x="820" y="212"/>
                  <a:pt x="840" y="198"/>
                  <a:pt x="854" y="179"/>
                </a:cubicBezTo>
                <a:cubicBezTo>
                  <a:pt x="888" y="130"/>
                  <a:pt x="877" y="63"/>
                  <a:pt x="829" y="27"/>
                </a:cubicBezTo>
                <a:close/>
                <a:moveTo>
                  <a:pt x="301" y="777"/>
                </a:moveTo>
                <a:lnTo>
                  <a:pt x="587" y="777"/>
                </a:lnTo>
                <a:lnTo>
                  <a:pt x="587" y="705"/>
                </a:lnTo>
                <a:lnTo>
                  <a:pt x="301" y="705"/>
                </a:lnTo>
                <a:lnTo>
                  <a:pt x="301" y="77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115" name="AutoShape 4"/>
          <p:cNvSpPr>
            <a:spLocks noChangeAspect="1" noChangeArrowheads="1" noTextEdit="1"/>
          </p:cNvSpPr>
          <p:nvPr/>
        </p:nvSpPr>
        <p:spPr bwMode="auto">
          <a:xfrm>
            <a:off x="5844301" y="1808388"/>
            <a:ext cx="918665" cy="317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2400" dirty="0">
              <a:solidFill>
                <a:schemeClr val="bg1"/>
              </a:solidFill>
            </a:endParaRPr>
          </a:p>
        </p:txBody>
      </p:sp>
      <p:pic>
        <p:nvPicPr>
          <p:cNvPr id="116" name="Рисунок 115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185" name="TextBox 184"/>
          <p:cNvSpPr txBox="1"/>
          <p:nvPr/>
        </p:nvSpPr>
        <p:spPr>
          <a:xfrm>
            <a:off x="861346" y="1955890"/>
            <a:ext cx="6149713" cy="3005182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>
              <a:lnSpc>
                <a:spcPct val="120000"/>
              </a:lnSpc>
            </a:pPr>
            <a:r>
              <a:rPr lang="ru-RU" sz="3200" b="1" spc="-30" dirty="0">
                <a:solidFill>
                  <a:srgbClr val="0073B8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ВХОЖДЕНИЕ </a:t>
            </a:r>
          </a:p>
          <a:p>
            <a:pPr>
              <a:lnSpc>
                <a:spcPct val="120000"/>
              </a:lnSpc>
            </a:pPr>
            <a:r>
              <a:rPr lang="ru-RU" sz="3200" b="1" spc="-30" dirty="0">
                <a:solidFill>
                  <a:srgbClr val="0073B8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РОССИЙСКОЙ ФЕДЕРАЦИИ В ЧИСЛО ДЕСЯТИ ВЕДУЩИХ СТРАН МИРА ПО КАЧЕСТВУ ОБЩЕГО ОБРАЗОВАНИЯ</a:t>
            </a:r>
          </a:p>
        </p:txBody>
      </p:sp>
      <p:grpSp>
        <p:nvGrpSpPr>
          <p:cNvPr id="79" name="Группа 78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80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1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2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3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4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5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6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7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8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0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1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2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3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4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6" name="Рисунок 5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0128" y="206471"/>
            <a:ext cx="1309679" cy="424336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8041" y="194745"/>
            <a:ext cx="1556316" cy="439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9249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4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/>
          <p:cNvSpPr txBox="1"/>
          <p:nvPr/>
        </p:nvSpPr>
        <p:spPr>
          <a:xfrm>
            <a:off x="1870360" y="236941"/>
            <a:ext cx="10029387" cy="3836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sz="2133" b="1" noProof="0" dirty="0" smtClean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ФУНКЦИОНАЛЬНАЯ ГРАМОТНОСТЬ. </a:t>
            </a:r>
            <a:r>
              <a:rPr lang="en-US" sz="2133" b="1" noProof="0" dirty="0" smtClean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PISA</a:t>
            </a:r>
            <a:endParaRPr kumimoji="0" lang="ru-RU" sz="2133" b="1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Open Sans Condensed" pitchFamily="34" charset="0"/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350" name="Freeform: Shape 2">
            <a:extLst>
              <a:ext uri="{FF2B5EF4-FFF2-40B4-BE49-F238E27FC236}">
                <a16:creationId xmlns:a16="http://schemas.microsoft.com/office/drawing/2014/main" id="{E8321F90-7A4A-4341-827B-28977C263E2E}"/>
              </a:ext>
            </a:extLst>
          </p:cNvPr>
          <p:cNvSpPr/>
          <p:nvPr/>
        </p:nvSpPr>
        <p:spPr>
          <a:xfrm>
            <a:off x="5225147" y="2405698"/>
            <a:ext cx="1598807" cy="1207370"/>
          </a:xfrm>
          <a:custGeom>
            <a:avLst/>
            <a:gdLst>
              <a:gd name="connsiteX0" fmla="*/ 0 w 1598807"/>
              <a:gd name="connsiteY0" fmla="*/ 0 h 1207370"/>
              <a:gd name="connsiteX1" fmla="*/ 1598807 w 1598807"/>
              <a:gd name="connsiteY1" fmla="*/ 0 h 1207370"/>
              <a:gd name="connsiteX2" fmla="*/ 802778 w 1598807"/>
              <a:gd name="connsiteY2" fmla="*/ 1207370 h 1207370"/>
              <a:gd name="connsiteX3" fmla="*/ 0 w 1598807"/>
              <a:gd name="connsiteY3" fmla="*/ 0 h 12073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98807" h="1207370">
                <a:moveTo>
                  <a:pt x="0" y="0"/>
                </a:moveTo>
                <a:lnTo>
                  <a:pt x="1598807" y="0"/>
                </a:lnTo>
                <a:lnTo>
                  <a:pt x="802778" y="1207370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351" name="Freeform: Shape 7">
            <a:extLst>
              <a:ext uri="{FF2B5EF4-FFF2-40B4-BE49-F238E27FC236}">
                <a16:creationId xmlns:a16="http://schemas.microsoft.com/office/drawing/2014/main" id="{293659B5-62C0-4A5B-B82B-198158F89892}"/>
              </a:ext>
            </a:extLst>
          </p:cNvPr>
          <p:cNvSpPr/>
          <p:nvPr/>
        </p:nvSpPr>
        <p:spPr>
          <a:xfrm>
            <a:off x="5236198" y="3715196"/>
            <a:ext cx="1590562" cy="1201143"/>
          </a:xfrm>
          <a:custGeom>
            <a:avLst/>
            <a:gdLst>
              <a:gd name="connsiteX0" fmla="*/ 791924 w 1590562"/>
              <a:gd name="connsiteY0" fmla="*/ 0 h 1201143"/>
              <a:gd name="connsiteX1" fmla="*/ 1590562 w 1590562"/>
              <a:gd name="connsiteY1" fmla="*/ 1201143 h 1201143"/>
              <a:gd name="connsiteX2" fmla="*/ 0 w 1590562"/>
              <a:gd name="connsiteY2" fmla="*/ 1201143 h 1201143"/>
              <a:gd name="connsiteX3" fmla="*/ 791924 w 1590562"/>
              <a:gd name="connsiteY3" fmla="*/ 0 h 12011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90562" h="1201143">
                <a:moveTo>
                  <a:pt x="791924" y="0"/>
                </a:moveTo>
                <a:lnTo>
                  <a:pt x="1590562" y="1201143"/>
                </a:lnTo>
                <a:lnTo>
                  <a:pt x="0" y="1201143"/>
                </a:lnTo>
                <a:lnTo>
                  <a:pt x="791924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352" name="Freeform: Shape 4">
            <a:extLst>
              <a:ext uri="{FF2B5EF4-FFF2-40B4-BE49-F238E27FC236}">
                <a16:creationId xmlns:a16="http://schemas.microsoft.com/office/drawing/2014/main" id="{B5923372-2A83-40AE-8429-EA7274E23A07}"/>
              </a:ext>
            </a:extLst>
          </p:cNvPr>
          <p:cNvSpPr/>
          <p:nvPr/>
        </p:nvSpPr>
        <p:spPr>
          <a:xfrm>
            <a:off x="4585557" y="2441480"/>
            <a:ext cx="1387798" cy="1191347"/>
          </a:xfrm>
          <a:custGeom>
            <a:avLst/>
            <a:gdLst>
              <a:gd name="connsiteX0" fmla="*/ 595674 w 1387798"/>
              <a:gd name="connsiteY0" fmla="*/ 0 h 1191347"/>
              <a:gd name="connsiteX1" fmla="*/ 1387798 w 1387798"/>
              <a:gd name="connsiteY1" fmla="*/ 1191347 h 1191347"/>
              <a:gd name="connsiteX2" fmla="*/ 0 w 1387798"/>
              <a:gd name="connsiteY2" fmla="*/ 1191347 h 1191347"/>
              <a:gd name="connsiteX3" fmla="*/ 595674 w 1387798"/>
              <a:gd name="connsiteY3" fmla="*/ 0 h 1191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87798" h="1191347">
                <a:moveTo>
                  <a:pt x="595674" y="0"/>
                </a:moveTo>
                <a:lnTo>
                  <a:pt x="1387798" y="1191347"/>
                </a:lnTo>
                <a:lnTo>
                  <a:pt x="0" y="1191347"/>
                </a:lnTo>
                <a:lnTo>
                  <a:pt x="595674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353" name="Freeform: Shape 5">
            <a:extLst>
              <a:ext uri="{FF2B5EF4-FFF2-40B4-BE49-F238E27FC236}">
                <a16:creationId xmlns:a16="http://schemas.microsoft.com/office/drawing/2014/main" id="{417433C4-A6F2-4887-9074-72328FC977B8}"/>
              </a:ext>
            </a:extLst>
          </p:cNvPr>
          <p:cNvSpPr/>
          <p:nvPr/>
        </p:nvSpPr>
        <p:spPr>
          <a:xfrm>
            <a:off x="4585556" y="3689208"/>
            <a:ext cx="1392168" cy="1200860"/>
          </a:xfrm>
          <a:custGeom>
            <a:avLst/>
            <a:gdLst>
              <a:gd name="connsiteX0" fmla="*/ 0 w 1392168"/>
              <a:gd name="connsiteY0" fmla="*/ 0 h 1200860"/>
              <a:gd name="connsiteX1" fmla="*/ 1392168 w 1392168"/>
              <a:gd name="connsiteY1" fmla="*/ 0 h 1200860"/>
              <a:gd name="connsiteX2" fmla="*/ 600431 w 1392168"/>
              <a:gd name="connsiteY2" fmla="*/ 1200860 h 1200860"/>
              <a:gd name="connsiteX3" fmla="*/ 0 w 1392168"/>
              <a:gd name="connsiteY3" fmla="*/ 0 h 12008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92168" h="1200860">
                <a:moveTo>
                  <a:pt x="0" y="0"/>
                </a:moveTo>
                <a:lnTo>
                  <a:pt x="1392168" y="0"/>
                </a:lnTo>
                <a:lnTo>
                  <a:pt x="600431" y="120086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354" name="Freeform: Shape 3">
            <a:extLst>
              <a:ext uri="{FF2B5EF4-FFF2-40B4-BE49-F238E27FC236}">
                <a16:creationId xmlns:a16="http://schemas.microsoft.com/office/drawing/2014/main" id="{730E853C-172C-4DB6-91F5-7C0FF529D082}"/>
              </a:ext>
            </a:extLst>
          </p:cNvPr>
          <p:cNvSpPr/>
          <p:nvPr/>
        </p:nvSpPr>
        <p:spPr>
          <a:xfrm>
            <a:off x="6082429" y="2436182"/>
            <a:ext cx="1387282" cy="1196645"/>
          </a:xfrm>
          <a:custGeom>
            <a:avLst/>
            <a:gdLst>
              <a:gd name="connsiteX0" fmla="*/ 788959 w 1387282"/>
              <a:gd name="connsiteY0" fmla="*/ 0 h 1196645"/>
              <a:gd name="connsiteX1" fmla="*/ 1387282 w 1387282"/>
              <a:gd name="connsiteY1" fmla="*/ 1196645 h 1196645"/>
              <a:gd name="connsiteX2" fmla="*/ 0 w 1387282"/>
              <a:gd name="connsiteY2" fmla="*/ 1196645 h 1196645"/>
              <a:gd name="connsiteX3" fmla="*/ 788959 w 1387282"/>
              <a:gd name="connsiteY3" fmla="*/ 0 h 11966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87282" h="1196645">
                <a:moveTo>
                  <a:pt x="788959" y="0"/>
                </a:moveTo>
                <a:lnTo>
                  <a:pt x="1387282" y="1196645"/>
                </a:lnTo>
                <a:lnTo>
                  <a:pt x="0" y="1196645"/>
                </a:lnTo>
                <a:lnTo>
                  <a:pt x="788959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355" name="Freeform: Shape 6">
            <a:extLst>
              <a:ext uri="{FF2B5EF4-FFF2-40B4-BE49-F238E27FC236}">
                <a16:creationId xmlns:a16="http://schemas.microsoft.com/office/drawing/2014/main" id="{D58AF4F2-B8B1-43E8-B846-19429A8E3A9D}"/>
              </a:ext>
            </a:extLst>
          </p:cNvPr>
          <p:cNvSpPr/>
          <p:nvPr/>
        </p:nvSpPr>
        <p:spPr>
          <a:xfrm>
            <a:off x="6078549" y="3689208"/>
            <a:ext cx="1391164" cy="1194236"/>
          </a:xfrm>
          <a:custGeom>
            <a:avLst/>
            <a:gdLst>
              <a:gd name="connsiteX0" fmla="*/ 0 w 1391164"/>
              <a:gd name="connsiteY0" fmla="*/ 0 h 1194236"/>
              <a:gd name="connsiteX1" fmla="*/ 1391164 w 1391164"/>
              <a:gd name="connsiteY1" fmla="*/ 0 h 1194236"/>
              <a:gd name="connsiteX2" fmla="*/ 794045 w 1391164"/>
              <a:gd name="connsiteY2" fmla="*/ 1194236 h 1194236"/>
              <a:gd name="connsiteX3" fmla="*/ 0 w 1391164"/>
              <a:gd name="connsiteY3" fmla="*/ 0 h 11942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91164" h="1194236">
                <a:moveTo>
                  <a:pt x="0" y="0"/>
                </a:moveTo>
                <a:lnTo>
                  <a:pt x="1391164" y="0"/>
                </a:lnTo>
                <a:lnTo>
                  <a:pt x="794045" y="119423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356" name="TextBox 355"/>
          <p:cNvSpPr txBox="1"/>
          <p:nvPr/>
        </p:nvSpPr>
        <p:spPr>
          <a:xfrm>
            <a:off x="4949394" y="1186993"/>
            <a:ext cx="225831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29479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тественно-научная грамотность</a:t>
            </a:r>
            <a:endParaRPr lang="ru-RU" sz="2000" b="1" dirty="0">
              <a:solidFill>
                <a:srgbClr val="29479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7" name="TextBox 356"/>
          <p:cNvSpPr txBox="1"/>
          <p:nvPr/>
        </p:nvSpPr>
        <p:spPr>
          <a:xfrm>
            <a:off x="7297068" y="2441480"/>
            <a:ext cx="233040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29479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тематическая грамотность</a:t>
            </a:r>
            <a:endParaRPr lang="ru-RU" sz="2000" b="1" dirty="0">
              <a:solidFill>
                <a:srgbClr val="29479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8" name="TextBox 357"/>
          <p:cNvSpPr txBox="1"/>
          <p:nvPr/>
        </p:nvSpPr>
        <p:spPr>
          <a:xfrm>
            <a:off x="7570538" y="4002613"/>
            <a:ext cx="202740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29479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лобальные компетенции</a:t>
            </a:r>
            <a:endParaRPr lang="ru-RU" sz="2000" b="1" dirty="0">
              <a:solidFill>
                <a:srgbClr val="29479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9" name="TextBox 358"/>
          <p:cNvSpPr txBox="1"/>
          <p:nvPr/>
        </p:nvSpPr>
        <p:spPr>
          <a:xfrm>
            <a:off x="5115014" y="5106872"/>
            <a:ext cx="190235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29479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еативное мышление</a:t>
            </a:r>
            <a:endParaRPr lang="ru-RU" sz="2000" b="1" dirty="0">
              <a:solidFill>
                <a:srgbClr val="29479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0" name="TextBox 359"/>
          <p:cNvSpPr txBox="1"/>
          <p:nvPr/>
        </p:nvSpPr>
        <p:spPr>
          <a:xfrm>
            <a:off x="2381884" y="4002613"/>
            <a:ext cx="195178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29479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нансовая грамотность</a:t>
            </a:r>
            <a:endParaRPr lang="ru-RU" sz="2000" b="1" dirty="0">
              <a:solidFill>
                <a:srgbClr val="29479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1" name="TextBox 360"/>
          <p:cNvSpPr txBox="1"/>
          <p:nvPr/>
        </p:nvSpPr>
        <p:spPr>
          <a:xfrm>
            <a:off x="2280315" y="2442452"/>
            <a:ext cx="206868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29479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итательская грамотность</a:t>
            </a:r>
            <a:endParaRPr lang="ru-RU" sz="2000" b="1" dirty="0">
              <a:solidFill>
                <a:srgbClr val="29479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62" name="Группа 361"/>
          <p:cNvGrpSpPr/>
          <p:nvPr/>
        </p:nvGrpSpPr>
        <p:grpSpPr>
          <a:xfrm>
            <a:off x="959667" y="1186993"/>
            <a:ext cx="10022186" cy="4955454"/>
            <a:chOff x="959667" y="1186993"/>
            <a:chExt cx="10022186" cy="4955454"/>
          </a:xfrm>
        </p:grpSpPr>
        <p:sp>
          <p:nvSpPr>
            <p:cNvPr id="363" name="Freeform: Shape 15">
              <a:extLst>
                <a:ext uri="{FF2B5EF4-FFF2-40B4-BE49-F238E27FC236}">
                  <a16:creationId xmlns:a16="http://schemas.microsoft.com/office/drawing/2014/main" id="{CBD34A5A-60A4-4CF5-B6BB-E6B38A7D1B68}"/>
                </a:ext>
              </a:extLst>
            </p:cNvPr>
            <p:cNvSpPr/>
            <p:nvPr/>
          </p:nvSpPr>
          <p:spPr>
            <a:xfrm>
              <a:off x="3078437" y="1186993"/>
              <a:ext cx="5898396" cy="4955454"/>
            </a:xfrm>
            <a:custGeom>
              <a:avLst/>
              <a:gdLst>
                <a:gd name="connsiteX0" fmla="*/ 2107548 w 5898396"/>
                <a:gd name="connsiteY0" fmla="*/ 3703075 h 4955454"/>
                <a:gd name="connsiteX1" fmla="*/ 2120685 w 5898396"/>
                <a:gd name="connsiteY1" fmla="*/ 3729345 h 4955454"/>
                <a:gd name="connsiteX2" fmla="*/ 2157760 w 5898396"/>
                <a:gd name="connsiteY2" fmla="*/ 3729346 h 4955454"/>
                <a:gd name="connsiteX3" fmla="*/ 1349376 w 5898396"/>
                <a:gd name="connsiteY3" fmla="*/ 4955454 h 4955454"/>
                <a:gd name="connsiteX4" fmla="*/ 1302305 w 5898396"/>
                <a:gd name="connsiteY4" fmla="*/ 4924420 h 4955454"/>
                <a:gd name="connsiteX5" fmla="*/ 3794156 w 5898396"/>
                <a:gd name="connsiteY5" fmla="*/ 3696450 h 4955454"/>
                <a:gd name="connsiteX6" fmla="*/ 4605584 w 5898396"/>
                <a:gd name="connsiteY6" fmla="*/ 4916830 h 4955454"/>
                <a:gd name="connsiteX7" fmla="*/ 4558634 w 5898396"/>
                <a:gd name="connsiteY7" fmla="*/ 4948047 h 4955454"/>
                <a:gd name="connsiteX8" fmla="*/ 3748322 w 5898396"/>
                <a:gd name="connsiteY8" fmla="*/ 3729346 h 4955454"/>
                <a:gd name="connsiteX9" fmla="*/ 3777709 w 5898396"/>
                <a:gd name="connsiteY9" fmla="*/ 3729346 h 4955454"/>
                <a:gd name="connsiteX10" fmla="*/ 0 w 5898396"/>
                <a:gd name="connsiteY10" fmla="*/ 2445834 h 4955454"/>
                <a:gd name="connsiteX11" fmla="*/ 1507121 w 5898396"/>
                <a:gd name="connsiteY11" fmla="*/ 2445834 h 4955454"/>
                <a:gd name="connsiteX12" fmla="*/ 1493024 w 5898396"/>
                <a:gd name="connsiteY12" fmla="*/ 2474026 h 4955454"/>
                <a:gd name="connsiteX13" fmla="*/ 1507119 w 5898396"/>
                <a:gd name="connsiteY13" fmla="*/ 2502215 h 4955454"/>
                <a:gd name="connsiteX14" fmla="*/ 0 w 5898396"/>
                <a:gd name="connsiteY14" fmla="*/ 2502215 h 4955454"/>
                <a:gd name="connsiteX15" fmla="*/ 5898396 w 5898396"/>
                <a:gd name="connsiteY15" fmla="*/ 2445833 h 4955454"/>
                <a:gd name="connsiteX16" fmla="*/ 5898396 w 5898396"/>
                <a:gd name="connsiteY16" fmla="*/ 2502214 h 4955454"/>
                <a:gd name="connsiteX17" fmla="*/ 4391275 w 5898396"/>
                <a:gd name="connsiteY17" fmla="*/ 2502215 h 4955454"/>
                <a:gd name="connsiteX18" fmla="*/ 4405370 w 5898396"/>
                <a:gd name="connsiteY18" fmla="*/ 2474026 h 4955454"/>
                <a:gd name="connsiteX19" fmla="*/ 4391274 w 5898396"/>
                <a:gd name="connsiteY19" fmla="*/ 2445834 h 4955454"/>
                <a:gd name="connsiteX20" fmla="*/ 1339761 w 5898396"/>
                <a:gd name="connsiteY20" fmla="*/ 5063 h 4955454"/>
                <a:gd name="connsiteX21" fmla="*/ 2146708 w 5898396"/>
                <a:gd name="connsiteY21" fmla="*/ 1218705 h 4955454"/>
                <a:gd name="connsiteX22" fmla="*/ 2120684 w 5898396"/>
                <a:gd name="connsiteY22" fmla="*/ 1218705 h 4955454"/>
                <a:gd name="connsiteX23" fmla="*/ 2102794 w 5898396"/>
                <a:gd name="connsiteY23" fmla="*/ 1254487 h 4955454"/>
                <a:gd name="connsiteX24" fmla="*/ 1292811 w 5898396"/>
                <a:gd name="connsiteY24" fmla="*/ 36280 h 4955454"/>
                <a:gd name="connsiteX25" fmla="*/ 4549019 w 5898396"/>
                <a:gd name="connsiteY25" fmla="*/ 0 h 4955454"/>
                <a:gd name="connsiteX26" fmla="*/ 4596089 w 5898396"/>
                <a:gd name="connsiteY26" fmla="*/ 31034 h 4955454"/>
                <a:gd name="connsiteX27" fmla="*/ 3792950 w 5898396"/>
                <a:gd name="connsiteY27" fmla="*/ 1249188 h 4955454"/>
                <a:gd name="connsiteX28" fmla="*/ 3777708 w 5898396"/>
                <a:gd name="connsiteY28" fmla="*/ 1218705 h 4955454"/>
                <a:gd name="connsiteX29" fmla="*/ 3745515 w 5898396"/>
                <a:gd name="connsiteY29" fmla="*/ 1218706 h 4955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898396" h="4955454">
                  <a:moveTo>
                    <a:pt x="2107548" y="3703075"/>
                  </a:moveTo>
                  <a:lnTo>
                    <a:pt x="2120685" y="3729345"/>
                  </a:lnTo>
                  <a:lnTo>
                    <a:pt x="2157760" y="3729346"/>
                  </a:lnTo>
                  <a:lnTo>
                    <a:pt x="1349376" y="4955454"/>
                  </a:lnTo>
                  <a:lnTo>
                    <a:pt x="1302305" y="4924420"/>
                  </a:lnTo>
                  <a:close/>
                  <a:moveTo>
                    <a:pt x="3794156" y="3696450"/>
                  </a:moveTo>
                  <a:lnTo>
                    <a:pt x="4605584" y="4916830"/>
                  </a:lnTo>
                  <a:lnTo>
                    <a:pt x="4558634" y="4948047"/>
                  </a:lnTo>
                  <a:lnTo>
                    <a:pt x="3748322" y="3729346"/>
                  </a:lnTo>
                  <a:lnTo>
                    <a:pt x="3777709" y="3729346"/>
                  </a:lnTo>
                  <a:close/>
                  <a:moveTo>
                    <a:pt x="0" y="2445834"/>
                  </a:moveTo>
                  <a:lnTo>
                    <a:pt x="1507121" y="2445834"/>
                  </a:lnTo>
                  <a:lnTo>
                    <a:pt x="1493024" y="2474026"/>
                  </a:lnTo>
                  <a:lnTo>
                    <a:pt x="1507119" y="2502215"/>
                  </a:lnTo>
                  <a:lnTo>
                    <a:pt x="0" y="2502215"/>
                  </a:lnTo>
                  <a:close/>
                  <a:moveTo>
                    <a:pt x="5898396" y="2445833"/>
                  </a:moveTo>
                  <a:lnTo>
                    <a:pt x="5898396" y="2502214"/>
                  </a:lnTo>
                  <a:lnTo>
                    <a:pt x="4391275" y="2502215"/>
                  </a:lnTo>
                  <a:lnTo>
                    <a:pt x="4405370" y="2474026"/>
                  </a:lnTo>
                  <a:lnTo>
                    <a:pt x="4391274" y="2445834"/>
                  </a:lnTo>
                  <a:close/>
                  <a:moveTo>
                    <a:pt x="1339761" y="5063"/>
                  </a:moveTo>
                  <a:lnTo>
                    <a:pt x="2146708" y="1218705"/>
                  </a:lnTo>
                  <a:lnTo>
                    <a:pt x="2120684" y="1218705"/>
                  </a:lnTo>
                  <a:lnTo>
                    <a:pt x="2102794" y="1254487"/>
                  </a:lnTo>
                  <a:lnTo>
                    <a:pt x="1292811" y="36280"/>
                  </a:lnTo>
                  <a:close/>
                  <a:moveTo>
                    <a:pt x="4549019" y="0"/>
                  </a:moveTo>
                  <a:lnTo>
                    <a:pt x="4596089" y="31034"/>
                  </a:lnTo>
                  <a:lnTo>
                    <a:pt x="3792950" y="1249188"/>
                  </a:lnTo>
                  <a:lnTo>
                    <a:pt x="3777708" y="1218705"/>
                  </a:lnTo>
                  <a:lnTo>
                    <a:pt x="3745515" y="1218706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cxnSp>
          <p:nvCxnSpPr>
            <p:cNvPr id="364" name="Прямая соединительная линия 363"/>
            <p:cNvCxnSpPr/>
            <p:nvPr/>
          </p:nvCxnSpPr>
          <p:spPr>
            <a:xfrm>
              <a:off x="959667" y="3649280"/>
              <a:ext cx="10022186" cy="19759"/>
            </a:xfrm>
            <a:prstGeom prst="line">
              <a:avLst/>
            </a:prstGeom>
            <a:ln w="50800">
              <a:solidFill>
                <a:schemeClr val="accent5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5" name="TextBox 364"/>
          <p:cNvSpPr txBox="1"/>
          <p:nvPr/>
        </p:nvSpPr>
        <p:spPr>
          <a:xfrm rot="16200000">
            <a:off x="391699" y="1792358"/>
            <a:ext cx="1776406" cy="707886"/>
          </a:xfrm>
          <a:prstGeom prst="rect">
            <a:avLst/>
          </a:prstGeom>
          <a:solidFill>
            <a:srgbClr val="F8188D">
              <a:alpha val="15000"/>
            </a:srgbClr>
          </a:solidFill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20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сновные</a:t>
            </a:r>
          </a:p>
          <a:p>
            <a:r>
              <a:rPr lang="ru-RU" dirty="0"/>
              <a:t>компоненты</a:t>
            </a:r>
          </a:p>
        </p:txBody>
      </p:sp>
      <p:sp>
        <p:nvSpPr>
          <p:cNvPr id="366" name="TextBox 365"/>
          <p:cNvSpPr txBox="1"/>
          <p:nvPr/>
        </p:nvSpPr>
        <p:spPr>
          <a:xfrm rot="16200000">
            <a:off x="70767" y="4752929"/>
            <a:ext cx="2418270" cy="707886"/>
          </a:xfrm>
          <a:prstGeom prst="rect">
            <a:avLst/>
          </a:prstGeom>
          <a:solidFill>
            <a:srgbClr val="F8188D">
              <a:alpha val="15000"/>
            </a:srgbClr>
          </a:solidFill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20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Дополнительные</a:t>
            </a:r>
          </a:p>
          <a:p>
            <a:r>
              <a:rPr lang="ru-RU" dirty="0"/>
              <a:t>компоненты</a:t>
            </a:r>
          </a:p>
        </p:txBody>
      </p:sp>
      <p:sp>
        <p:nvSpPr>
          <p:cNvPr id="367" name="TextBox 366"/>
          <p:cNvSpPr txBox="1"/>
          <p:nvPr/>
        </p:nvSpPr>
        <p:spPr>
          <a:xfrm rot="19486504">
            <a:off x="6515548" y="5284361"/>
            <a:ext cx="1994140" cy="707886"/>
          </a:xfrm>
          <a:prstGeom prst="rect">
            <a:avLst/>
          </a:prstGeom>
          <a:solidFill>
            <a:srgbClr val="F8188D">
              <a:alpha val="15000"/>
            </a:srgb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решение</a:t>
            </a:r>
          </a:p>
          <a:p>
            <a:pPr algn="ctr"/>
            <a:r>
              <a:rPr lang="ru-RU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блем</a:t>
            </a:r>
            <a:endParaRPr lang="ru-RU" sz="20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736117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72" name="Прямая соединительная линия 371"/>
          <p:cNvCxnSpPr>
            <a:stCxn id="362" idx="0"/>
          </p:cNvCxnSpPr>
          <p:nvPr/>
        </p:nvCxnSpPr>
        <p:spPr>
          <a:xfrm flipV="1">
            <a:off x="568576" y="1417752"/>
            <a:ext cx="4178" cy="1792795"/>
          </a:xfrm>
          <a:prstGeom prst="line">
            <a:avLst/>
          </a:prstGeom>
          <a:ln w="28575">
            <a:solidFill>
              <a:srgbClr val="F5B14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5" name="Прямая соединительная линия 374"/>
          <p:cNvCxnSpPr/>
          <p:nvPr/>
        </p:nvCxnSpPr>
        <p:spPr>
          <a:xfrm flipV="1">
            <a:off x="555953" y="3868244"/>
            <a:ext cx="56" cy="314775"/>
          </a:xfrm>
          <a:prstGeom prst="line">
            <a:avLst/>
          </a:prstGeom>
          <a:ln w="28575">
            <a:solidFill>
              <a:srgbClr val="43D1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1" name="TextBox 350"/>
          <p:cNvSpPr txBox="1"/>
          <p:nvPr/>
        </p:nvSpPr>
        <p:spPr>
          <a:xfrm>
            <a:off x="3301048" y="883243"/>
            <a:ext cx="8731138" cy="2224582"/>
          </a:xfrm>
          <a:prstGeom prst="rect">
            <a:avLst/>
          </a:prstGeom>
          <a:solidFill>
            <a:srgbClr val="EAF2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rtlCol="0" anchor="ctr"/>
          <a:lstStyle>
            <a:defPPr>
              <a:defRPr lang="ru-RU"/>
            </a:defPPr>
            <a:lvl1pPr algn="ctr">
              <a:defRPr sz="1400" b="1">
                <a:solidFill>
                  <a:schemeClr val="lt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endParaRPr lang="ru-RU" sz="1200" b="0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algn="l"/>
            <a:r>
              <a:rPr lang="ru-RU" sz="1200" b="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Внесение </a:t>
            </a:r>
            <a:r>
              <a:rPr lang="ru-RU" sz="1200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изменений в основную образовательную программу: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sz="1200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Целевой раздел: планируемые результаты и система оценки их </a:t>
            </a:r>
            <a:r>
              <a:rPr lang="ru-RU" sz="1200" b="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достижения.</a:t>
            </a:r>
            <a:endParaRPr lang="ru-RU" sz="1200" b="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sz="1200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Содержательный раздел: корректировка программ учебных курсов, в том числе </a:t>
            </a:r>
            <a:r>
              <a:rPr lang="ru-RU" sz="1200" b="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интегрированных.</a:t>
            </a:r>
            <a:endParaRPr lang="ru-RU" sz="1200" b="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sz="1200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Организационный: включение соответствующих курсов в часть учебного плана, формируемую участниками образовательных отношений, в план внеурочной </a:t>
            </a:r>
            <a:r>
              <a:rPr lang="ru-RU" sz="1200" b="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деятельности.</a:t>
            </a:r>
            <a:endParaRPr lang="ru-RU" sz="1200" b="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ru-RU" sz="1200" b="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algn="l"/>
            <a:r>
              <a:rPr lang="ru-RU" sz="1200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Включение в план методической работы образовательной организации серии семинаров-практикумов, направленных на совместную работу всего педагогического коллектива по формированию функциональной </a:t>
            </a:r>
            <a:r>
              <a:rPr lang="ru-RU" sz="1200" b="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грамотности.</a:t>
            </a:r>
            <a:endParaRPr lang="ru-RU" sz="1200" b="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algn="l"/>
            <a:endParaRPr lang="ru-RU" sz="1200" b="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algn="l"/>
            <a:r>
              <a:rPr lang="ru-RU" sz="1200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Проведение внутришкольного мониторинга сформированности функциональной грамотности учащихся с 5 по </a:t>
            </a:r>
            <a:r>
              <a:rPr lang="ru-RU" sz="1200" b="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9 класс.</a:t>
            </a:r>
            <a:endParaRPr lang="ru-RU" sz="1200" b="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lvl="1">
              <a:defRPr/>
            </a:pPr>
            <a:endParaRPr lang="ru-RU" sz="12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356" name="Rectangle 9"/>
          <p:cNvSpPr>
            <a:spLocks noChangeArrowheads="1"/>
          </p:cNvSpPr>
          <p:nvPr/>
        </p:nvSpPr>
        <p:spPr bwMode="auto">
          <a:xfrm>
            <a:off x="248995" y="904349"/>
            <a:ext cx="2793396" cy="668013"/>
          </a:xfrm>
          <a:prstGeom prst="rect">
            <a:avLst/>
          </a:prstGeom>
          <a:solidFill>
            <a:schemeClr val="bg1"/>
          </a:solidFill>
          <a:ln w="19050">
            <a:solidFill>
              <a:srgbClr val="F5B144"/>
            </a:solidFill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5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/>
          <p:cNvSpPr txBox="1"/>
          <p:nvPr/>
        </p:nvSpPr>
        <p:spPr>
          <a:xfrm>
            <a:off x="1873319" y="80820"/>
            <a:ext cx="10029387" cy="6063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sz="2130" b="1" spc="-20" dirty="0">
                <a:solidFill>
                  <a:srgbClr val="2D2B8D"/>
                </a:solidFill>
                <a:latin typeface="Open Sans Condensed Light" pitchFamily="34" charset="0"/>
                <a:ea typeface="Open Sans Condensed Light" pitchFamily="34" charset="0"/>
                <a:cs typeface="Open Sans Condensed Light" pitchFamily="34" charset="0"/>
              </a:rPr>
              <a:t>Формирование функциональной грамотности. </a:t>
            </a:r>
          </a:p>
          <a:p>
            <a:pPr lvl="0">
              <a:lnSpc>
                <a:spcPct val="85000"/>
              </a:lnSpc>
              <a:defRPr/>
            </a:pPr>
            <a:r>
              <a:rPr lang="ru-RU" spc="-20" dirty="0">
                <a:solidFill>
                  <a:srgbClr val="2D2B8D"/>
                </a:solidFill>
                <a:latin typeface="Open Sans Condensed Light" pitchFamily="34" charset="0"/>
                <a:ea typeface="Open Sans Condensed Light" pitchFamily="34" charset="0"/>
                <a:cs typeface="Open Sans Condensed Light" pitchFamily="34" charset="0"/>
              </a:rPr>
              <a:t>Как встроить в образовательный процесс?</a:t>
            </a:r>
          </a:p>
        </p:txBody>
      </p:sp>
      <p:sp>
        <p:nvSpPr>
          <p:cNvPr id="350" name="TextBox 349"/>
          <p:cNvSpPr txBox="1"/>
          <p:nvPr/>
        </p:nvSpPr>
        <p:spPr>
          <a:xfrm>
            <a:off x="964184" y="952549"/>
            <a:ext cx="2078207" cy="576293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r>
              <a:rPr lang="ru-RU" sz="14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Административная деятельность</a:t>
            </a:r>
            <a:endParaRPr lang="ru-RU" sz="1400" b="1" dirty="0">
              <a:solidFill>
                <a:schemeClr val="tx1">
                  <a:lumMod val="85000"/>
                  <a:lumOff val="1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54" name="Rectangle 9"/>
          <p:cNvSpPr>
            <a:spLocks noChangeArrowheads="1"/>
          </p:cNvSpPr>
          <p:nvPr/>
        </p:nvSpPr>
        <p:spPr bwMode="auto">
          <a:xfrm>
            <a:off x="244876" y="900230"/>
            <a:ext cx="659997" cy="668013"/>
          </a:xfrm>
          <a:prstGeom prst="rect">
            <a:avLst/>
          </a:prstGeom>
          <a:solidFill>
            <a:srgbClr val="F5B144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55" name="Freeform 55"/>
          <p:cNvSpPr>
            <a:spLocks noEditPoints="1"/>
          </p:cNvSpPr>
          <p:nvPr/>
        </p:nvSpPr>
        <p:spPr bwMode="auto">
          <a:xfrm>
            <a:off x="376097" y="1059883"/>
            <a:ext cx="397554" cy="348706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57" name="TextBox 356"/>
          <p:cNvSpPr txBox="1"/>
          <p:nvPr/>
        </p:nvSpPr>
        <p:spPr>
          <a:xfrm>
            <a:off x="3301047" y="3210547"/>
            <a:ext cx="8731139" cy="672132"/>
          </a:xfrm>
          <a:prstGeom prst="rect">
            <a:avLst/>
          </a:prstGeom>
          <a:solidFill>
            <a:srgbClr val="EAF2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rtlCol="0" anchor="ctr"/>
          <a:lstStyle>
            <a:defPPr>
              <a:defRPr lang="ru-RU"/>
            </a:defPPr>
            <a:lvl1pPr algn="ctr">
              <a:defRPr sz="1400" b="1">
                <a:solidFill>
                  <a:schemeClr val="lt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r>
              <a:rPr lang="ru-RU" sz="1200" b="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Решение </a:t>
            </a:r>
            <a:r>
              <a:rPr lang="ru-RU" sz="1200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контекстных задач в рамках уроков по всем предметам учебного </a:t>
            </a:r>
            <a:r>
              <a:rPr lang="ru-RU" sz="1200" b="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плана.</a:t>
            </a:r>
            <a:endParaRPr lang="ru-RU" sz="1200" b="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358" name="TextBox 357"/>
          <p:cNvSpPr txBox="1"/>
          <p:nvPr/>
        </p:nvSpPr>
        <p:spPr>
          <a:xfrm>
            <a:off x="3301047" y="3979781"/>
            <a:ext cx="8731139" cy="1928782"/>
          </a:xfrm>
          <a:prstGeom prst="rect">
            <a:avLst/>
          </a:prstGeom>
          <a:solidFill>
            <a:srgbClr val="EAF2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rtlCol="0" anchor="ctr"/>
          <a:lstStyle>
            <a:defPPr>
              <a:defRPr lang="ru-RU"/>
            </a:defPPr>
            <a:lvl1pPr algn="ctr">
              <a:defRPr sz="1400" b="1">
                <a:solidFill>
                  <a:schemeClr val="lt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r>
              <a:rPr lang="ru-RU" sz="1200" b="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Включение </a:t>
            </a:r>
            <a:r>
              <a:rPr lang="ru-RU" sz="1200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в план внеурочной деятельности образовательной организации </a:t>
            </a:r>
            <a:r>
              <a:rPr lang="ru-RU" sz="1200" b="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специальных </a:t>
            </a:r>
            <a:r>
              <a:rPr lang="ru-RU" sz="1200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учебных курсов «Учимся для </a:t>
            </a:r>
            <a:r>
              <a:rPr lang="ru-RU" sz="1200" b="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жизни».</a:t>
            </a:r>
          </a:p>
          <a:p>
            <a:pPr algn="l"/>
            <a:endParaRPr lang="ru-RU" sz="1200" b="0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algn="l"/>
            <a:r>
              <a:rPr lang="ru-RU" sz="1200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Включение в план внеурочной деятельности образовательной </a:t>
            </a:r>
            <a:r>
              <a:rPr lang="ru-RU" sz="1200" b="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организации образовательных событий, направленных </a:t>
            </a:r>
            <a:r>
              <a:rPr lang="ru-RU" sz="1200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на совместную работу всего педагогического коллектива по формированию функциональной грамотности (межпредметные недели, учебно-исследовательские конференции, межпредметные марафоны</a:t>
            </a:r>
            <a:r>
              <a:rPr lang="en-US" sz="1200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ru-RU" sz="1200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и т</a:t>
            </a:r>
            <a:r>
              <a:rPr lang="ru-RU" sz="1200" b="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. д.).</a:t>
            </a:r>
          </a:p>
          <a:p>
            <a:pPr algn="l"/>
            <a:endParaRPr lang="ru-RU" sz="1200" b="0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algn="l"/>
            <a:r>
              <a:rPr lang="ru-RU" sz="1200" b="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Проектно-исследовательская </a:t>
            </a:r>
            <a:r>
              <a:rPr lang="ru-RU" sz="1200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работа обучающихся с активным использованием метапредметных и межпредметных проектов и </a:t>
            </a:r>
            <a:r>
              <a:rPr lang="ru-RU" sz="1200" b="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исследований.</a:t>
            </a:r>
            <a:endParaRPr lang="ru-RU" sz="1200" b="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368" name="Нашивка 367"/>
          <p:cNvSpPr/>
          <p:nvPr/>
        </p:nvSpPr>
        <p:spPr>
          <a:xfrm rot="5400000">
            <a:off x="477503" y="2319766"/>
            <a:ext cx="194853" cy="327170"/>
          </a:xfrm>
          <a:prstGeom prst="chevron">
            <a:avLst/>
          </a:prstGeom>
          <a:solidFill>
            <a:srgbClr val="F5B1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369" name="Нашивка 368"/>
          <p:cNvSpPr/>
          <p:nvPr/>
        </p:nvSpPr>
        <p:spPr>
          <a:xfrm rot="5400000">
            <a:off x="460561" y="3867135"/>
            <a:ext cx="194853" cy="327170"/>
          </a:xfrm>
          <a:prstGeom prst="chevron">
            <a:avLst/>
          </a:prstGeom>
          <a:solidFill>
            <a:srgbClr val="43D1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370" name="Нашивка 369"/>
          <p:cNvSpPr/>
          <p:nvPr/>
        </p:nvSpPr>
        <p:spPr>
          <a:xfrm>
            <a:off x="2936606" y="6058439"/>
            <a:ext cx="194853" cy="327170"/>
          </a:xfrm>
          <a:prstGeom prst="chevron">
            <a:avLst/>
          </a:prstGeom>
          <a:solidFill>
            <a:srgbClr val="40A7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cxnSp>
        <p:nvCxnSpPr>
          <p:cNvPr id="379" name="Прямая соединительная линия 378"/>
          <p:cNvCxnSpPr>
            <a:endCxn id="366" idx="2"/>
          </p:cNvCxnSpPr>
          <p:nvPr/>
        </p:nvCxnSpPr>
        <p:spPr>
          <a:xfrm flipV="1">
            <a:off x="546058" y="4854108"/>
            <a:ext cx="20458" cy="1367918"/>
          </a:xfrm>
          <a:prstGeom prst="line">
            <a:avLst/>
          </a:prstGeom>
          <a:ln w="28575">
            <a:solidFill>
              <a:srgbClr val="40A7E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5" name="Прямая соединительная линия 384"/>
          <p:cNvCxnSpPr/>
          <p:nvPr/>
        </p:nvCxnSpPr>
        <p:spPr>
          <a:xfrm>
            <a:off x="546058" y="6222025"/>
            <a:ext cx="2507947" cy="0"/>
          </a:xfrm>
          <a:prstGeom prst="line">
            <a:avLst/>
          </a:prstGeom>
          <a:ln w="28575">
            <a:solidFill>
              <a:srgbClr val="40A7E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1" name="Прямоугольник 390"/>
          <p:cNvSpPr/>
          <p:nvPr/>
        </p:nvSpPr>
        <p:spPr>
          <a:xfrm>
            <a:off x="3301047" y="6006581"/>
            <a:ext cx="8731139" cy="430887"/>
          </a:xfrm>
          <a:prstGeom prst="rect">
            <a:avLst/>
          </a:prstGeom>
          <a:solidFill>
            <a:srgbClr val="0073B8"/>
          </a:solidFill>
        </p:spPr>
        <p:txBody>
          <a:bodyPr wrap="square" lIns="180000">
            <a:spAutoFit/>
          </a:bodyPr>
          <a:lstStyle/>
          <a:p>
            <a:pPr marL="0" lvl="1"/>
            <a:r>
              <a:rPr lang="ru-RU" sz="1100" b="1" dirty="0">
                <a:solidFill>
                  <a:schemeClr val="bg1"/>
                </a:solidFill>
                <a:latin typeface="Open Sans Extrabold" pitchFamily="34" charset="0"/>
                <a:ea typeface="Open Sans Extrabold" pitchFamily="34" charset="0"/>
                <a:cs typeface="Open Sans Extrabold" pitchFamily="34" charset="0"/>
              </a:rPr>
              <a:t>Закупка учебных пособий возможна в соответствии со статьей 35 </a:t>
            </a:r>
            <a:endParaRPr lang="ru-RU" sz="1100" b="1" dirty="0" smtClean="0">
              <a:solidFill>
                <a:schemeClr val="bg1"/>
              </a:solidFill>
              <a:latin typeface="Open Sans Extrabold" pitchFamily="34" charset="0"/>
              <a:ea typeface="Open Sans Extrabold" pitchFamily="34" charset="0"/>
              <a:cs typeface="Open Sans Extrabold" pitchFamily="34" charset="0"/>
            </a:endParaRPr>
          </a:p>
          <a:p>
            <a:pPr marL="0" lvl="1"/>
            <a:r>
              <a:rPr lang="ru-RU" sz="1100" b="1" dirty="0" smtClean="0">
                <a:solidFill>
                  <a:schemeClr val="bg1"/>
                </a:solidFill>
                <a:latin typeface="Open Sans Extrabold" pitchFamily="34" charset="0"/>
                <a:ea typeface="Open Sans Extrabold" pitchFamily="34" charset="0"/>
                <a:cs typeface="Open Sans Extrabold" pitchFamily="34" charset="0"/>
              </a:rPr>
              <a:t>Федерального </a:t>
            </a:r>
            <a:r>
              <a:rPr lang="ru-RU" sz="1100" b="1" dirty="0">
                <a:solidFill>
                  <a:schemeClr val="bg1"/>
                </a:solidFill>
                <a:latin typeface="Open Sans Extrabold" pitchFamily="34" charset="0"/>
                <a:ea typeface="Open Sans Extrabold" pitchFamily="34" charset="0"/>
                <a:cs typeface="Open Sans Extrabold" pitchFamily="34" charset="0"/>
              </a:rPr>
              <a:t>закона от 29.12.2012 № 273-ФЗ «Об образовании в Российской Федерации»</a:t>
            </a:r>
          </a:p>
        </p:txBody>
      </p:sp>
      <p:grpSp>
        <p:nvGrpSpPr>
          <p:cNvPr id="3" name="Группа 2"/>
          <p:cNvGrpSpPr/>
          <p:nvPr/>
        </p:nvGrpSpPr>
        <p:grpSpPr>
          <a:xfrm>
            <a:off x="238577" y="3210547"/>
            <a:ext cx="2797515" cy="672132"/>
            <a:chOff x="240697" y="3328086"/>
            <a:chExt cx="2797515" cy="672132"/>
          </a:xfrm>
        </p:grpSpPr>
        <p:sp>
          <p:nvSpPr>
            <p:cNvPr id="360" name="Rectangle 9"/>
            <p:cNvSpPr>
              <a:spLocks noChangeArrowheads="1"/>
            </p:cNvSpPr>
            <p:nvPr/>
          </p:nvSpPr>
          <p:spPr bwMode="auto">
            <a:xfrm>
              <a:off x="244816" y="3332205"/>
              <a:ext cx="2793396" cy="668013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43D1A1"/>
              </a:solidFill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61" name="TextBox 360"/>
            <p:cNvSpPr txBox="1"/>
            <p:nvPr/>
          </p:nvSpPr>
          <p:spPr>
            <a:xfrm>
              <a:off x="960005" y="3380405"/>
              <a:ext cx="2078207" cy="576293"/>
            </a:xfrm>
            <a:prstGeom prst="rect">
              <a:avLst/>
            </a:prstGeom>
            <a:noFill/>
          </p:spPr>
          <p:txBody>
            <a:bodyPr wrap="square" lIns="72000" tIns="72000" rIns="72000" bIns="72000" rtlCol="0">
              <a:spAutoFit/>
            </a:bodyPr>
            <a:lstStyle/>
            <a:p>
              <a:r>
                <a:rPr lang="ru-RU" sz="1400" b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Урочная деятельность</a:t>
              </a:r>
              <a:endParaRPr lang="ru-RU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362" name="Rectangle 9"/>
            <p:cNvSpPr>
              <a:spLocks noChangeArrowheads="1"/>
            </p:cNvSpPr>
            <p:nvPr/>
          </p:nvSpPr>
          <p:spPr bwMode="auto">
            <a:xfrm>
              <a:off x="240697" y="3328086"/>
              <a:ext cx="659997" cy="66801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93" name="Freeform 31"/>
            <p:cNvSpPr>
              <a:spLocks noEditPoints="1"/>
            </p:cNvSpPr>
            <p:nvPr/>
          </p:nvSpPr>
          <p:spPr bwMode="auto">
            <a:xfrm>
              <a:off x="378136" y="3457609"/>
              <a:ext cx="392116" cy="376014"/>
            </a:xfrm>
            <a:custGeom>
              <a:avLst/>
              <a:gdLst>
                <a:gd name="T0" fmla="*/ 466 w 860"/>
                <a:gd name="T1" fmla="*/ 465 h 823"/>
                <a:gd name="T2" fmla="*/ 394 w 860"/>
                <a:gd name="T3" fmla="*/ 393 h 823"/>
                <a:gd name="T4" fmla="*/ 537 w 860"/>
                <a:gd name="T5" fmla="*/ 716 h 823"/>
                <a:gd name="T6" fmla="*/ 609 w 860"/>
                <a:gd name="T7" fmla="*/ 644 h 823"/>
                <a:gd name="T8" fmla="*/ 537 w 860"/>
                <a:gd name="T9" fmla="*/ 716 h 823"/>
                <a:gd name="T10" fmla="*/ 609 w 860"/>
                <a:gd name="T11" fmla="*/ 608 h 823"/>
                <a:gd name="T12" fmla="*/ 537 w 860"/>
                <a:gd name="T13" fmla="*/ 537 h 823"/>
                <a:gd name="T14" fmla="*/ 716 w 860"/>
                <a:gd name="T15" fmla="*/ 644 h 823"/>
                <a:gd name="T16" fmla="*/ 645 w 860"/>
                <a:gd name="T17" fmla="*/ 716 h 823"/>
                <a:gd name="T18" fmla="*/ 716 w 860"/>
                <a:gd name="T19" fmla="*/ 644 h 823"/>
                <a:gd name="T20" fmla="*/ 645 w 860"/>
                <a:gd name="T21" fmla="*/ 537 h 823"/>
                <a:gd name="T22" fmla="*/ 716 w 860"/>
                <a:gd name="T23" fmla="*/ 608 h 823"/>
                <a:gd name="T24" fmla="*/ 251 w 860"/>
                <a:gd name="T25" fmla="*/ 716 h 823"/>
                <a:gd name="T26" fmla="*/ 322 w 860"/>
                <a:gd name="T27" fmla="*/ 644 h 823"/>
                <a:gd name="T28" fmla="*/ 251 w 860"/>
                <a:gd name="T29" fmla="*/ 716 h 823"/>
                <a:gd name="T30" fmla="*/ 322 w 860"/>
                <a:gd name="T31" fmla="*/ 608 h 823"/>
                <a:gd name="T32" fmla="*/ 251 w 860"/>
                <a:gd name="T33" fmla="*/ 537 h 823"/>
                <a:gd name="T34" fmla="*/ 143 w 860"/>
                <a:gd name="T35" fmla="*/ 716 h 823"/>
                <a:gd name="T36" fmla="*/ 215 w 860"/>
                <a:gd name="T37" fmla="*/ 644 h 823"/>
                <a:gd name="T38" fmla="*/ 143 w 860"/>
                <a:gd name="T39" fmla="*/ 716 h 823"/>
                <a:gd name="T40" fmla="*/ 215 w 860"/>
                <a:gd name="T41" fmla="*/ 608 h 823"/>
                <a:gd name="T42" fmla="*/ 143 w 860"/>
                <a:gd name="T43" fmla="*/ 537 h 823"/>
                <a:gd name="T44" fmla="*/ 788 w 860"/>
                <a:gd name="T45" fmla="*/ 752 h 823"/>
                <a:gd name="T46" fmla="*/ 466 w 860"/>
                <a:gd name="T47" fmla="*/ 537 h 823"/>
                <a:gd name="T48" fmla="*/ 394 w 860"/>
                <a:gd name="T49" fmla="*/ 752 h 823"/>
                <a:gd name="T50" fmla="*/ 72 w 860"/>
                <a:gd name="T51" fmla="*/ 501 h 823"/>
                <a:gd name="T52" fmla="*/ 430 w 860"/>
                <a:gd name="T53" fmla="*/ 269 h 823"/>
                <a:gd name="T54" fmla="*/ 788 w 860"/>
                <a:gd name="T55" fmla="*/ 501 h 823"/>
                <a:gd name="T56" fmla="*/ 100 w 860"/>
                <a:gd name="T57" fmla="*/ 358 h 823"/>
                <a:gd name="T58" fmla="*/ 199 w 860"/>
                <a:gd name="T59" fmla="*/ 429 h 823"/>
                <a:gd name="T60" fmla="*/ 100 w 860"/>
                <a:gd name="T61" fmla="*/ 358 h 823"/>
                <a:gd name="T62" fmla="*/ 778 w 860"/>
                <a:gd name="T63" fmla="*/ 429 h 823"/>
                <a:gd name="T64" fmla="*/ 600 w 860"/>
                <a:gd name="T65" fmla="*/ 358 h 823"/>
                <a:gd name="T66" fmla="*/ 816 w 860"/>
                <a:gd name="T67" fmla="*/ 286 h 823"/>
                <a:gd name="T68" fmla="*/ 466 w 860"/>
                <a:gd name="T69" fmla="*/ 183 h 823"/>
                <a:gd name="T70" fmla="*/ 483 w 860"/>
                <a:gd name="T71" fmla="*/ 73 h 823"/>
                <a:gd name="T72" fmla="*/ 645 w 860"/>
                <a:gd name="T73" fmla="*/ 53 h 823"/>
                <a:gd name="T74" fmla="*/ 430 w 860"/>
                <a:gd name="T75" fmla="*/ 0 h 823"/>
                <a:gd name="T76" fmla="*/ 394 w 860"/>
                <a:gd name="T77" fmla="*/ 183 h 823"/>
                <a:gd name="T78" fmla="*/ 44 w 860"/>
                <a:gd name="T79" fmla="*/ 286 h 823"/>
                <a:gd name="T80" fmla="*/ 0 w 860"/>
                <a:gd name="T81" fmla="*/ 823 h 823"/>
                <a:gd name="T82" fmla="*/ 860 w 860"/>
                <a:gd name="T83" fmla="*/ 448 h 8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860" h="823">
                  <a:moveTo>
                    <a:pt x="394" y="465"/>
                  </a:moveTo>
                  <a:lnTo>
                    <a:pt x="466" y="465"/>
                  </a:lnTo>
                  <a:lnTo>
                    <a:pt x="466" y="393"/>
                  </a:lnTo>
                  <a:lnTo>
                    <a:pt x="394" y="393"/>
                  </a:lnTo>
                  <a:lnTo>
                    <a:pt x="394" y="465"/>
                  </a:lnTo>
                  <a:close/>
                  <a:moveTo>
                    <a:pt x="537" y="716"/>
                  </a:moveTo>
                  <a:lnTo>
                    <a:pt x="609" y="716"/>
                  </a:lnTo>
                  <a:lnTo>
                    <a:pt x="609" y="644"/>
                  </a:lnTo>
                  <a:lnTo>
                    <a:pt x="537" y="644"/>
                  </a:lnTo>
                  <a:lnTo>
                    <a:pt x="537" y="716"/>
                  </a:lnTo>
                  <a:close/>
                  <a:moveTo>
                    <a:pt x="537" y="608"/>
                  </a:moveTo>
                  <a:lnTo>
                    <a:pt x="609" y="608"/>
                  </a:lnTo>
                  <a:lnTo>
                    <a:pt x="609" y="537"/>
                  </a:lnTo>
                  <a:lnTo>
                    <a:pt x="537" y="537"/>
                  </a:lnTo>
                  <a:lnTo>
                    <a:pt x="537" y="608"/>
                  </a:lnTo>
                  <a:close/>
                  <a:moveTo>
                    <a:pt x="716" y="644"/>
                  </a:moveTo>
                  <a:lnTo>
                    <a:pt x="645" y="644"/>
                  </a:lnTo>
                  <a:lnTo>
                    <a:pt x="645" y="716"/>
                  </a:lnTo>
                  <a:lnTo>
                    <a:pt x="716" y="716"/>
                  </a:lnTo>
                  <a:lnTo>
                    <a:pt x="716" y="644"/>
                  </a:lnTo>
                  <a:close/>
                  <a:moveTo>
                    <a:pt x="716" y="537"/>
                  </a:moveTo>
                  <a:lnTo>
                    <a:pt x="645" y="537"/>
                  </a:lnTo>
                  <a:lnTo>
                    <a:pt x="645" y="608"/>
                  </a:lnTo>
                  <a:lnTo>
                    <a:pt x="716" y="608"/>
                  </a:lnTo>
                  <a:lnTo>
                    <a:pt x="716" y="537"/>
                  </a:lnTo>
                  <a:close/>
                  <a:moveTo>
                    <a:pt x="251" y="716"/>
                  </a:moveTo>
                  <a:lnTo>
                    <a:pt x="322" y="716"/>
                  </a:lnTo>
                  <a:lnTo>
                    <a:pt x="322" y="644"/>
                  </a:lnTo>
                  <a:lnTo>
                    <a:pt x="251" y="644"/>
                  </a:lnTo>
                  <a:lnTo>
                    <a:pt x="251" y="716"/>
                  </a:lnTo>
                  <a:close/>
                  <a:moveTo>
                    <a:pt x="251" y="608"/>
                  </a:moveTo>
                  <a:lnTo>
                    <a:pt x="322" y="608"/>
                  </a:lnTo>
                  <a:lnTo>
                    <a:pt x="322" y="537"/>
                  </a:lnTo>
                  <a:lnTo>
                    <a:pt x="251" y="537"/>
                  </a:lnTo>
                  <a:lnTo>
                    <a:pt x="251" y="608"/>
                  </a:lnTo>
                  <a:close/>
                  <a:moveTo>
                    <a:pt x="143" y="716"/>
                  </a:moveTo>
                  <a:lnTo>
                    <a:pt x="215" y="716"/>
                  </a:lnTo>
                  <a:lnTo>
                    <a:pt x="215" y="644"/>
                  </a:lnTo>
                  <a:lnTo>
                    <a:pt x="143" y="644"/>
                  </a:lnTo>
                  <a:lnTo>
                    <a:pt x="143" y="716"/>
                  </a:lnTo>
                  <a:close/>
                  <a:moveTo>
                    <a:pt x="143" y="608"/>
                  </a:moveTo>
                  <a:lnTo>
                    <a:pt x="215" y="608"/>
                  </a:lnTo>
                  <a:lnTo>
                    <a:pt x="215" y="537"/>
                  </a:lnTo>
                  <a:lnTo>
                    <a:pt x="143" y="537"/>
                  </a:lnTo>
                  <a:lnTo>
                    <a:pt x="143" y="608"/>
                  </a:lnTo>
                  <a:close/>
                  <a:moveTo>
                    <a:pt x="788" y="752"/>
                  </a:moveTo>
                  <a:lnTo>
                    <a:pt x="466" y="752"/>
                  </a:lnTo>
                  <a:lnTo>
                    <a:pt x="466" y="537"/>
                  </a:lnTo>
                  <a:lnTo>
                    <a:pt x="394" y="537"/>
                  </a:lnTo>
                  <a:lnTo>
                    <a:pt x="394" y="752"/>
                  </a:lnTo>
                  <a:lnTo>
                    <a:pt x="72" y="752"/>
                  </a:lnTo>
                  <a:lnTo>
                    <a:pt x="72" y="501"/>
                  </a:lnTo>
                  <a:lnTo>
                    <a:pt x="232" y="501"/>
                  </a:lnTo>
                  <a:lnTo>
                    <a:pt x="430" y="269"/>
                  </a:lnTo>
                  <a:lnTo>
                    <a:pt x="628" y="501"/>
                  </a:lnTo>
                  <a:lnTo>
                    <a:pt x="788" y="501"/>
                  </a:lnTo>
                  <a:lnTo>
                    <a:pt x="788" y="752"/>
                  </a:lnTo>
                  <a:close/>
                  <a:moveTo>
                    <a:pt x="100" y="358"/>
                  </a:moveTo>
                  <a:lnTo>
                    <a:pt x="260" y="358"/>
                  </a:lnTo>
                  <a:lnTo>
                    <a:pt x="199" y="429"/>
                  </a:lnTo>
                  <a:lnTo>
                    <a:pt x="82" y="429"/>
                  </a:lnTo>
                  <a:lnTo>
                    <a:pt x="100" y="358"/>
                  </a:lnTo>
                  <a:close/>
                  <a:moveTo>
                    <a:pt x="760" y="358"/>
                  </a:moveTo>
                  <a:lnTo>
                    <a:pt x="778" y="429"/>
                  </a:lnTo>
                  <a:lnTo>
                    <a:pt x="661" y="429"/>
                  </a:lnTo>
                  <a:lnTo>
                    <a:pt x="600" y="358"/>
                  </a:lnTo>
                  <a:lnTo>
                    <a:pt x="760" y="358"/>
                  </a:lnTo>
                  <a:close/>
                  <a:moveTo>
                    <a:pt x="816" y="286"/>
                  </a:moveTo>
                  <a:lnTo>
                    <a:pt x="539" y="286"/>
                  </a:lnTo>
                  <a:lnTo>
                    <a:pt x="466" y="183"/>
                  </a:lnTo>
                  <a:lnTo>
                    <a:pt x="466" y="59"/>
                  </a:lnTo>
                  <a:cubicBezTo>
                    <a:pt x="466" y="62"/>
                    <a:pt x="477" y="67"/>
                    <a:pt x="483" y="73"/>
                  </a:cubicBezTo>
                  <a:cubicBezTo>
                    <a:pt x="512" y="101"/>
                    <a:pt x="537" y="125"/>
                    <a:pt x="645" y="125"/>
                  </a:cubicBezTo>
                  <a:lnTo>
                    <a:pt x="645" y="53"/>
                  </a:lnTo>
                  <a:cubicBezTo>
                    <a:pt x="573" y="53"/>
                    <a:pt x="550" y="47"/>
                    <a:pt x="533" y="31"/>
                  </a:cubicBezTo>
                  <a:cubicBezTo>
                    <a:pt x="511" y="9"/>
                    <a:pt x="488" y="0"/>
                    <a:pt x="430" y="0"/>
                  </a:cubicBezTo>
                  <a:lnTo>
                    <a:pt x="394" y="0"/>
                  </a:lnTo>
                  <a:lnTo>
                    <a:pt x="394" y="183"/>
                  </a:lnTo>
                  <a:lnTo>
                    <a:pt x="322" y="286"/>
                  </a:lnTo>
                  <a:lnTo>
                    <a:pt x="44" y="286"/>
                  </a:lnTo>
                  <a:lnTo>
                    <a:pt x="1" y="458"/>
                  </a:lnTo>
                  <a:lnTo>
                    <a:pt x="0" y="823"/>
                  </a:lnTo>
                  <a:lnTo>
                    <a:pt x="860" y="823"/>
                  </a:lnTo>
                  <a:lnTo>
                    <a:pt x="860" y="448"/>
                  </a:lnTo>
                  <a:lnTo>
                    <a:pt x="816" y="28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grpSp>
        <p:nvGrpSpPr>
          <p:cNvPr id="7" name="Группа 6"/>
          <p:cNvGrpSpPr/>
          <p:nvPr/>
        </p:nvGrpSpPr>
        <p:grpSpPr>
          <a:xfrm>
            <a:off x="236517" y="4186095"/>
            <a:ext cx="2797515" cy="672132"/>
            <a:chOff x="236518" y="4273102"/>
            <a:chExt cx="2797515" cy="672132"/>
          </a:xfrm>
        </p:grpSpPr>
        <p:sp>
          <p:nvSpPr>
            <p:cNvPr id="364" name="Rectangle 9"/>
            <p:cNvSpPr>
              <a:spLocks noChangeArrowheads="1"/>
            </p:cNvSpPr>
            <p:nvPr/>
          </p:nvSpPr>
          <p:spPr bwMode="auto">
            <a:xfrm>
              <a:off x="240637" y="4277221"/>
              <a:ext cx="2793396" cy="668013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40A7E1"/>
              </a:solidFill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66" name="Rectangle 9"/>
            <p:cNvSpPr>
              <a:spLocks noChangeArrowheads="1"/>
            </p:cNvSpPr>
            <p:nvPr/>
          </p:nvSpPr>
          <p:spPr bwMode="auto">
            <a:xfrm>
              <a:off x="236518" y="4273102"/>
              <a:ext cx="659997" cy="668013"/>
            </a:xfrm>
            <a:prstGeom prst="rect">
              <a:avLst/>
            </a:prstGeom>
            <a:solidFill>
              <a:srgbClr val="40A7E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grpSp>
          <p:nvGrpSpPr>
            <p:cNvPr id="4" name="Группа 3"/>
            <p:cNvGrpSpPr/>
            <p:nvPr/>
          </p:nvGrpSpPr>
          <p:grpSpPr>
            <a:xfrm>
              <a:off x="388363" y="4325421"/>
              <a:ext cx="2645670" cy="576293"/>
              <a:chOff x="388363" y="4325421"/>
              <a:chExt cx="2645670" cy="576293"/>
            </a:xfrm>
          </p:grpSpPr>
          <p:sp>
            <p:nvSpPr>
              <p:cNvPr id="365" name="TextBox 364"/>
              <p:cNvSpPr txBox="1"/>
              <p:nvPr/>
            </p:nvSpPr>
            <p:spPr>
              <a:xfrm>
                <a:off x="955826" y="4325421"/>
                <a:ext cx="2078207" cy="576293"/>
              </a:xfrm>
              <a:prstGeom prst="rect">
                <a:avLst/>
              </a:prstGeom>
              <a:noFill/>
            </p:spPr>
            <p:txBody>
              <a:bodyPr wrap="square" lIns="72000" tIns="72000" rIns="72000" bIns="72000" rtlCol="0">
                <a:spAutoFit/>
              </a:bodyPr>
              <a:lstStyle/>
              <a:p>
                <a:r>
                  <a:rPr lang="ru-RU" sz="1400" b="1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Внеурочная</a:t>
                </a:r>
              </a:p>
              <a:p>
                <a:r>
                  <a:rPr lang="ru-RU" sz="1400" b="1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деятельность</a:t>
                </a:r>
                <a:endParaRPr lang="ru-RU" sz="14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394" name="Freeform 54"/>
              <p:cNvSpPr>
                <a:spLocks noEditPoints="1"/>
              </p:cNvSpPr>
              <p:nvPr/>
            </p:nvSpPr>
            <p:spPr bwMode="auto">
              <a:xfrm>
                <a:off x="388363" y="4442316"/>
                <a:ext cx="390127" cy="391930"/>
              </a:xfrm>
              <a:custGeom>
                <a:avLst/>
                <a:gdLst>
                  <a:gd name="T0" fmla="*/ 358 w 860"/>
                  <a:gd name="T1" fmla="*/ 322 h 859"/>
                  <a:gd name="T2" fmla="*/ 358 w 860"/>
                  <a:gd name="T3" fmla="*/ 250 h 859"/>
                  <a:gd name="T4" fmla="*/ 287 w 860"/>
                  <a:gd name="T5" fmla="*/ 250 h 859"/>
                  <a:gd name="T6" fmla="*/ 287 w 860"/>
                  <a:gd name="T7" fmla="*/ 322 h 859"/>
                  <a:gd name="T8" fmla="*/ 358 w 860"/>
                  <a:gd name="T9" fmla="*/ 322 h 859"/>
                  <a:gd name="T10" fmla="*/ 215 w 860"/>
                  <a:gd name="T11" fmla="*/ 394 h 859"/>
                  <a:gd name="T12" fmla="*/ 144 w 860"/>
                  <a:gd name="T13" fmla="*/ 394 h 859"/>
                  <a:gd name="T14" fmla="*/ 144 w 860"/>
                  <a:gd name="T15" fmla="*/ 465 h 859"/>
                  <a:gd name="T16" fmla="*/ 215 w 860"/>
                  <a:gd name="T17" fmla="*/ 465 h 859"/>
                  <a:gd name="T18" fmla="*/ 215 w 860"/>
                  <a:gd name="T19" fmla="*/ 394 h 859"/>
                  <a:gd name="T20" fmla="*/ 251 w 860"/>
                  <a:gd name="T21" fmla="*/ 143 h 859"/>
                  <a:gd name="T22" fmla="*/ 394 w 860"/>
                  <a:gd name="T23" fmla="*/ 143 h 859"/>
                  <a:gd name="T24" fmla="*/ 394 w 860"/>
                  <a:gd name="T25" fmla="*/ 71 h 859"/>
                  <a:gd name="T26" fmla="*/ 251 w 860"/>
                  <a:gd name="T27" fmla="*/ 71 h 859"/>
                  <a:gd name="T28" fmla="*/ 251 w 860"/>
                  <a:gd name="T29" fmla="*/ 0 h 859"/>
                  <a:gd name="T30" fmla="*/ 179 w 860"/>
                  <a:gd name="T31" fmla="*/ 0 h 859"/>
                  <a:gd name="T32" fmla="*/ 179 w 860"/>
                  <a:gd name="T33" fmla="*/ 179 h 859"/>
                  <a:gd name="T34" fmla="*/ 251 w 860"/>
                  <a:gd name="T35" fmla="*/ 179 h 859"/>
                  <a:gd name="T36" fmla="*/ 251 w 860"/>
                  <a:gd name="T37" fmla="*/ 143 h 859"/>
                  <a:gd name="T38" fmla="*/ 215 w 860"/>
                  <a:gd name="T39" fmla="*/ 250 h 859"/>
                  <a:gd name="T40" fmla="*/ 144 w 860"/>
                  <a:gd name="T41" fmla="*/ 250 h 859"/>
                  <a:gd name="T42" fmla="*/ 144 w 860"/>
                  <a:gd name="T43" fmla="*/ 322 h 859"/>
                  <a:gd name="T44" fmla="*/ 215 w 860"/>
                  <a:gd name="T45" fmla="*/ 322 h 859"/>
                  <a:gd name="T46" fmla="*/ 215 w 860"/>
                  <a:gd name="T47" fmla="*/ 250 h 859"/>
                  <a:gd name="T48" fmla="*/ 609 w 860"/>
                  <a:gd name="T49" fmla="*/ 429 h 859"/>
                  <a:gd name="T50" fmla="*/ 537 w 860"/>
                  <a:gd name="T51" fmla="*/ 429 h 859"/>
                  <a:gd name="T52" fmla="*/ 537 w 860"/>
                  <a:gd name="T53" fmla="*/ 588 h 859"/>
                  <a:gd name="T54" fmla="*/ 620 w 860"/>
                  <a:gd name="T55" fmla="*/ 670 h 859"/>
                  <a:gd name="T56" fmla="*/ 670 w 860"/>
                  <a:gd name="T57" fmla="*/ 619 h 859"/>
                  <a:gd name="T58" fmla="*/ 609 w 860"/>
                  <a:gd name="T59" fmla="*/ 558 h 859"/>
                  <a:gd name="T60" fmla="*/ 609 w 860"/>
                  <a:gd name="T61" fmla="*/ 429 h 859"/>
                  <a:gd name="T62" fmla="*/ 573 w 860"/>
                  <a:gd name="T63" fmla="*/ 788 h 859"/>
                  <a:gd name="T64" fmla="*/ 358 w 860"/>
                  <a:gd name="T65" fmla="*/ 573 h 859"/>
                  <a:gd name="T66" fmla="*/ 573 w 860"/>
                  <a:gd name="T67" fmla="*/ 358 h 859"/>
                  <a:gd name="T68" fmla="*/ 788 w 860"/>
                  <a:gd name="T69" fmla="*/ 573 h 859"/>
                  <a:gd name="T70" fmla="*/ 573 w 860"/>
                  <a:gd name="T71" fmla="*/ 788 h 859"/>
                  <a:gd name="T72" fmla="*/ 712 w 860"/>
                  <a:gd name="T73" fmla="*/ 322 h 859"/>
                  <a:gd name="T74" fmla="*/ 716 w 860"/>
                  <a:gd name="T75" fmla="*/ 322 h 859"/>
                  <a:gd name="T76" fmla="*/ 716 w 860"/>
                  <a:gd name="T77" fmla="*/ 71 h 859"/>
                  <a:gd name="T78" fmla="*/ 537 w 860"/>
                  <a:gd name="T79" fmla="*/ 71 h 859"/>
                  <a:gd name="T80" fmla="*/ 537 w 860"/>
                  <a:gd name="T81" fmla="*/ 0 h 859"/>
                  <a:gd name="T82" fmla="*/ 466 w 860"/>
                  <a:gd name="T83" fmla="*/ 0 h 859"/>
                  <a:gd name="T84" fmla="*/ 466 w 860"/>
                  <a:gd name="T85" fmla="*/ 179 h 859"/>
                  <a:gd name="T86" fmla="*/ 537 w 860"/>
                  <a:gd name="T87" fmla="*/ 179 h 859"/>
                  <a:gd name="T88" fmla="*/ 537 w 860"/>
                  <a:gd name="T89" fmla="*/ 143 h 859"/>
                  <a:gd name="T90" fmla="*/ 645 w 860"/>
                  <a:gd name="T91" fmla="*/ 143 h 859"/>
                  <a:gd name="T92" fmla="*/ 645 w 860"/>
                  <a:gd name="T93" fmla="*/ 296 h 859"/>
                  <a:gd name="T94" fmla="*/ 573 w 860"/>
                  <a:gd name="T95" fmla="*/ 286 h 859"/>
                  <a:gd name="T96" fmla="*/ 289 w 860"/>
                  <a:gd name="T97" fmla="*/ 537 h 859"/>
                  <a:gd name="T98" fmla="*/ 72 w 860"/>
                  <a:gd name="T99" fmla="*/ 537 h 859"/>
                  <a:gd name="T100" fmla="*/ 72 w 860"/>
                  <a:gd name="T101" fmla="*/ 143 h 859"/>
                  <a:gd name="T102" fmla="*/ 108 w 860"/>
                  <a:gd name="T103" fmla="*/ 143 h 859"/>
                  <a:gd name="T104" fmla="*/ 108 w 860"/>
                  <a:gd name="T105" fmla="*/ 71 h 859"/>
                  <a:gd name="T106" fmla="*/ 0 w 860"/>
                  <a:gd name="T107" fmla="*/ 71 h 859"/>
                  <a:gd name="T108" fmla="*/ 0 w 860"/>
                  <a:gd name="T109" fmla="*/ 609 h 859"/>
                  <a:gd name="T110" fmla="*/ 289 w 860"/>
                  <a:gd name="T111" fmla="*/ 609 h 859"/>
                  <a:gd name="T112" fmla="*/ 573 w 860"/>
                  <a:gd name="T113" fmla="*/ 859 h 859"/>
                  <a:gd name="T114" fmla="*/ 860 w 860"/>
                  <a:gd name="T115" fmla="*/ 573 h 859"/>
                  <a:gd name="T116" fmla="*/ 712 w 860"/>
                  <a:gd name="T117" fmla="*/ 322 h 8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860" h="859">
                    <a:moveTo>
                      <a:pt x="358" y="322"/>
                    </a:moveTo>
                    <a:lnTo>
                      <a:pt x="358" y="250"/>
                    </a:lnTo>
                    <a:lnTo>
                      <a:pt x="287" y="250"/>
                    </a:lnTo>
                    <a:lnTo>
                      <a:pt x="287" y="322"/>
                    </a:lnTo>
                    <a:lnTo>
                      <a:pt x="358" y="322"/>
                    </a:lnTo>
                    <a:close/>
                    <a:moveTo>
                      <a:pt x="215" y="394"/>
                    </a:moveTo>
                    <a:lnTo>
                      <a:pt x="144" y="394"/>
                    </a:lnTo>
                    <a:lnTo>
                      <a:pt x="144" y="465"/>
                    </a:lnTo>
                    <a:lnTo>
                      <a:pt x="215" y="465"/>
                    </a:lnTo>
                    <a:lnTo>
                      <a:pt x="215" y="394"/>
                    </a:lnTo>
                    <a:close/>
                    <a:moveTo>
                      <a:pt x="251" y="143"/>
                    </a:moveTo>
                    <a:lnTo>
                      <a:pt x="394" y="143"/>
                    </a:lnTo>
                    <a:lnTo>
                      <a:pt x="394" y="71"/>
                    </a:lnTo>
                    <a:lnTo>
                      <a:pt x="251" y="71"/>
                    </a:lnTo>
                    <a:lnTo>
                      <a:pt x="251" y="0"/>
                    </a:lnTo>
                    <a:lnTo>
                      <a:pt x="179" y="0"/>
                    </a:lnTo>
                    <a:lnTo>
                      <a:pt x="179" y="179"/>
                    </a:lnTo>
                    <a:lnTo>
                      <a:pt x="251" y="179"/>
                    </a:lnTo>
                    <a:lnTo>
                      <a:pt x="251" y="143"/>
                    </a:lnTo>
                    <a:close/>
                    <a:moveTo>
                      <a:pt x="215" y="250"/>
                    </a:moveTo>
                    <a:lnTo>
                      <a:pt x="144" y="250"/>
                    </a:lnTo>
                    <a:lnTo>
                      <a:pt x="144" y="322"/>
                    </a:lnTo>
                    <a:lnTo>
                      <a:pt x="215" y="322"/>
                    </a:lnTo>
                    <a:lnTo>
                      <a:pt x="215" y="250"/>
                    </a:lnTo>
                    <a:close/>
                    <a:moveTo>
                      <a:pt x="609" y="429"/>
                    </a:moveTo>
                    <a:lnTo>
                      <a:pt x="537" y="429"/>
                    </a:lnTo>
                    <a:lnTo>
                      <a:pt x="537" y="588"/>
                    </a:lnTo>
                    <a:lnTo>
                      <a:pt x="620" y="670"/>
                    </a:lnTo>
                    <a:lnTo>
                      <a:pt x="670" y="619"/>
                    </a:lnTo>
                    <a:lnTo>
                      <a:pt x="609" y="558"/>
                    </a:lnTo>
                    <a:lnTo>
                      <a:pt x="609" y="429"/>
                    </a:lnTo>
                    <a:close/>
                    <a:moveTo>
                      <a:pt x="573" y="788"/>
                    </a:moveTo>
                    <a:cubicBezTo>
                      <a:pt x="455" y="788"/>
                      <a:pt x="358" y="691"/>
                      <a:pt x="358" y="573"/>
                    </a:cubicBezTo>
                    <a:cubicBezTo>
                      <a:pt x="358" y="454"/>
                      <a:pt x="455" y="358"/>
                      <a:pt x="573" y="358"/>
                    </a:cubicBezTo>
                    <a:cubicBezTo>
                      <a:pt x="692" y="358"/>
                      <a:pt x="788" y="454"/>
                      <a:pt x="788" y="573"/>
                    </a:cubicBezTo>
                    <a:cubicBezTo>
                      <a:pt x="788" y="691"/>
                      <a:pt x="692" y="788"/>
                      <a:pt x="573" y="788"/>
                    </a:cubicBezTo>
                    <a:close/>
                    <a:moveTo>
                      <a:pt x="712" y="322"/>
                    </a:moveTo>
                    <a:lnTo>
                      <a:pt x="716" y="322"/>
                    </a:lnTo>
                    <a:lnTo>
                      <a:pt x="716" y="71"/>
                    </a:lnTo>
                    <a:lnTo>
                      <a:pt x="537" y="71"/>
                    </a:lnTo>
                    <a:lnTo>
                      <a:pt x="537" y="0"/>
                    </a:lnTo>
                    <a:lnTo>
                      <a:pt x="466" y="0"/>
                    </a:lnTo>
                    <a:lnTo>
                      <a:pt x="466" y="179"/>
                    </a:lnTo>
                    <a:lnTo>
                      <a:pt x="537" y="179"/>
                    </a:lnTo>
                    <a:lnTo>
                      <a:pt x="537" y="143"/>
                    </a:lnTo>
                    <a:lnTo>
                      <a:pt x="645" y="143"/>
                    </a:lnTo>
                    <a:lnTo>
                      <a:pt x="645" y="296"/>
                    </a:lnTo>
                    <a:cubicBezTo>
                      <a:pt x="609" y="290"/>
                      <a:pt x="598" y="286"/>
                      <a:pt x="573" y="286"/>
                    </a:cubicBezTo>
                    <a:cubicBezTo>
                      <a:pt x="427" y="286"/>
                      <a:pt x="307" y="394"/>
                      <a:pt x="289" y="537"/>
                    </a:cubicBezTo>
                    <a:lnTo>
                      <a:pt x="72" y="537"/>
                    </a:lnTo>
                    <a:lnTo>
                      <a:pt x="72" y="143"/>
                    </a:lnTo>
                    <a:lnTo>
                      <a:pt x="108" y="143"/>
                    </a:lnTo>
                    <a:lnTo>
                      <a:pt x="108" y="71"/>
                    </a:lnTo>
                    <a:lnTo>
                      <a:pt x="0" y="71"/>
                    </a:lnTo>
                    <a:lnTo>
                      <a:pt x="0" y="609"/>
                    </a:lnTo>
                    <a:lnTo>
                      <a:pt x="289" y="609"/>
                    </a:lnTo>
                    <a:cubicBezTo>
                      <a:pt x="307" y="752"/>
                      <a:pt x="427" y="859"/>
                      <a:pt x="573" y="859"/>
                    </a:cubicBezTo>
                    <a:cubicBezTo>
                      <a:pt x="731" y="859"/>
                      <a:pt x="860" y="731"/>
                      <a:pt x="860" y="573"/>
                    </a:cubicBezTo>
                    <a:cubicBezTo>
                      <a:pt x="860" y="465"/>
                      <a:pt x="800" y="358"/>
                      <a:pt x="712" y="32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</p:grpSp>
      </p:grpSp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570027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Прямоугольник 46"/>
          <p:cNvSpPr/>
          <p:nvPr/>
        </p:nvSpPr>
        <p:spPr>
          <a:xfrm>
            <a:off x="521407" y="3442627"/>
            <a:ext cx="507874" cy="509964"/>
          </a:xfrm>
          <a:prstGeom prst="rect">
            <a:avLst/>
          </a:prstGeom>
          <a:solidFill>
            <a:srgbClr val="40A7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6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/>
          <p:cNvSpPr txBox="1"/>
          <p:nvPr/>
        </p:nvSpPr>
        <p:spPr>
          <a:xfrm>
            <a:off x="1895322" y="0"/>
            <a:ext cx="10007384" cy="5893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95000"/>
              </a:lnSpc>
              <a:defRPr/>
            </a:pPr>
            <a:r>
              <a:rPr lang="ru-RU" b="1" spc="-20" dirty="0">
                <a:solidFill>
                  <a:srgbClr val="2D2B8D"/>
                </a:solidFill>
                <a:latin typeface="Open Sans Condensed Light" pitchFamily="34" charset="0"/>
                <a:ea typeface="Open Sans Condensed Light" pitchFamily="34" charset="0"/>
                <a:cs typeface="Open Sans Condensed Light" pitchFamily="34" charset="0"/>
              </a:rPr>
              <a:t>Вхождение РФ в число десяти ведущих стран мира по качеству общего образования</a:t>
            </a:r>
          </a:p>
          <a:p>
            <a:pPr lvl="0">
              <a:lnSpc>
                <a:spcPct val="95000"/>
              </a:lnSpc>
              <a:defRPr/>
            </a:pPr>
            <a:r>
              <a:rPr lang="ru-RU" sz="1600" spc="-20" dirty="0">
                <a:solidFill>
                  <a:srgbClr val="2D2B8D"/>
                </a:solidFill>
                <a:latin typeface="Open Sans Condensed Light" pitchFamily="34" charset="0"/>
                <a:ea typeface="Open Sans Condensed Light" pitchFamily="34" charset="0"/>
                <a:cs typeface="Open Sans Condensed Light" pitchFamily="34" charset="0"/>
              </a:rPr>
              <a:t>(Указ «О национальных целях развития Российской Федерации на период до 2030 года» </a:t>
            </a:r>
            <a:r>
              <a:rPr lang="ru-RU" sz="1600" spc="-20" dirty="0" smtClean="0">
                <a:solidFill>
                  <a:srgbClr val="2D2B8D"/>
                </a:solidFill>
                <a:latin typeface="Open Sans Condensed Light" pitchFamily="34" charset="0"/>
                <a:ea typeface="Open Sans Condensed Light" pitchFamily="34" charset="0"/>
                <a:cs typeface="Open Sans Condensed Light" pitchFamily="34" charset="0"/>
              </a:rPr>
              <a:t>21.07.2020) </a:t>
            </a:r>
            <a:endParaRPr lang="ru-RU" sz="1600" spc="-20" dirty="0">
              <a:solidFill>
                <a:srgbClr val="2D2B8D"/>
              </a:solidFill>
              <a:latin typeface="Open Sans Condensed Light" pitchFamily="34" charset="0"/>
              <a:ea typeface="Open Sans Condensed Light" pitchFamily="34" charset="0"/>
              <a:cs typeface="Open Sans Condensed Light" pitchFamily="34" charset="0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1" y="1029098"/>
            <a:ext cx="12188950" cy="791464"/>
          </a:xfrm>
          <a:prstGeom prst="rect">
            <a:avLst/>
          </a:prstGeom>
          <a:solidFill>
            <a:srgbClr val="D8EBF4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33" name="Прямоугольник 32"/>
          <p:cNvSpPr/>
          <p:nvPr/>
        </p:nvSpPr>
        <p:spPr>
          <a:xfrm>
            <a:off x="-3051" y="1029097"/>
            <a:ext cx="1753613" cy="791465"/>
          </a:xfrm>
          <a:prstGeom prst="rect">
            <a:avLst/>
          </a:prstGeom>
          <a:solidFill>
            <a:srgbClr val="40A7E1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35" name="TextBox 34"/>
          <p:cNvSpPr txBox="1"/>
          <p:nvPr/>
        </p:nvSpPr>
        <p:spPr>
          <a:xfrm>
            <a:off x="1029281" y="3442627"/>
            <a:ext cx="2291228" cy="509964"/>
          </a:xfrm>
          <a:prstGeom prst="rect">
            <a:avLst/>
          </a:prstGeom>
          <a:solidFill>
            <a:srgbClr val="EFF5FB"/>
          </a:solidFill>
        </p:spPr>
        <p:txBody>
          <a:bodyPr wrap="square" lIns="72000" tIns="72000" rIns="72000" bIns="72000" rtlCol="0" anchor="ctr" anchorCtr="0">
            <a:noAutofit/>
          </a:bodyPr>
          <a:lstStyle/>
          <a:p>
            <a:r>
              <a:rPr lang="en-US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</a:t>
            </a:r>
            <a:r>
              <a:rPr lang="ru-RU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УЧЕБНАЯ ЧЕТВЕРТЬ </a:t>
            </a:r>
            <a:endParaRPr lang="en-US" sz="1200" b="1" dirty="0" smtClean="0">
              <a:solidFill>
                <a:schemeClr val="tx1">
                  <a:lumMod val="85000"/>
                  <a:lumOff val="1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r>
              <a:rPr lang="ru-RU" sz="11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(</a:t>
            </a:r>
            <a:r>
              <a:rPr lang="ru-RU" sz="105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ентябрь</a:t>
            </a:r>
            <a:r>
              <a:rPr lang="ru-RU" sz="11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– октябрь)</a:t>
            </a:r>
            <a:endParaRPr lang="en-US" sz="1100" dirty="0">
              <a:solidFill>
                <a:schemeClr val="tx1">
                  <a:lumMod val="85000"/>
                  <a:lumOff val="1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2957501" y="3442626"/>
            <a:ext cx="3619468" cy="509965"/>
          </a:xfrm>
          <a:prstGeom prst="rect">
            <a:avLst/>
          </a:prstGeom>
          <a:solidFill>
            <a:srgbClr val="40A7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ctr">
              <a:defRPr sz="1400" b="1">
                <a:solidFill>
                  <a:schemeClr val="lt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 algn="l">
              <a:spcBef>
                <a:spcPct val="0"/>
              </a:spcBef>
              <a:defRPr/>
            </a:pPr>
            <a:r>
              <a:rPr lang="ru-RU" sz="1200" dirty="0" smtClea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ЧИТАТЕЛЬСКАЯ ГРАМОТНОСТЬ </a:t>
            </a:r>
          </a:p>
          <a:p>
            <a:pPr lvl="0" algn="l">
              <a:spcBef>
                <a:spcPct val="0"/>
              </a:spcBef>
              <a:defRPr/>
            </a:pPr>
            <a:r>
              <a:rPr lang="ru-RU" sz="1200" dirty="0" smtClea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+ ФИНАНСОВАЯ ГРАМОТНОСТЬ</a:t>
            </a:r>
            <a:endParaRPr lang="ru-RU" sz="1200" dirty="0"/>
          </a:p>
        </p:txBody>
      </p:sp>
      <p:sp>
        <p:nvSpPr>
          <p:cNvPr id="37" name="TextBox 36"/>
          <p:cNvSpPr txBox="1"/>
          <p:nvPr/>
        </p:nvSpPr>
        <p:spPr>
          <a:xfrm>
            <a:off x="1040284" y="4374358"/>
            <a:ext cx="2291229" cy="509964"/>
          </a:xfrm>
          <a:prstGeom prst="rect">
            <a:avLst/>
          </a:prstGeom>
          <a:solidFill>
            <a:srgbClr val="EFF5FB"/>
          </a:solidFill>
        </p:spPr>
        <p:txBody>
          <a:bodyPr wrap="square" lIns="72000" tIns="72000" rIns="72000" bIns="72000" rtlCol="0" anchor="ctr" anchorCtr="0">
            <a:noAutofit/>
          </a:bodyPr>
          <a:lstStyle/>
          <a:p>
            <a:pPr lvl="0">
              <a:spcBef>
                <a:spcPct val="0"/>
              </a:spcBef>
              <a:defRPr/>
            </a:pPr>
            <a:r>
              <a:rPr lang="en-US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I</a:t>
            </a:r>
            <a:r>
              <a:rPr lang="ru-RU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УЧЕБНАЯ ЧЕТВЕРТЬ </a:t>
            </a:r>
            <a:endParaRPr lang="en-US" sz="1200" b="1" dirty="0" smtClean="0">
              <a:solidFill>
                <a:schemeClr val="tx1">
                  <a:lumMod val="85000"/>
                  <a:lumOff val="1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lvl="0">
              <a:spcBef>
                <a:spcPct val="0"/>
              </a:spcBef>
              <a:defRPr/>
            </a:pPr>
            <a:r>
              <a:rPr lang="ru-RU" sz="11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(ноябрь – декабрь)</a:t>
            </a:r>
            <a:endParaRPr lang="ru-RU" sz="1100" dirty="0">
              <a:solidFill>
                <a:schemeClr val="tx1">
                  <a:lumMod val="85000"/>
                  <a:lumOff val="1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2957501" y="4374358"/>
            <a:ext cx="3619468" cy="509964"/>
          </a:xfrm>
          <a:prstGeom prst="rect">
            <a:avLst/>
          </a:prstGeom>
          <a:solidFill>
            <a:srgbClr val="40A7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ctr">
              <a:defRPr sz="1400" b="1">
                <a:solidFill>
                  <a:schemeClr val="lt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 algn="l">
              <a:spcBef>
                <a:spcPct val="0"/>
              </a:spcBef>
              <a:defRPr/>
            </a:pPr>
            <a:r>
              <a:rPr lang="ru-RU" sz="1200" dirty="0" smtClea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ЕСТЕСТВЕННО-НАУЧНАЯ </a:t>
            </a:r>
          </a:p>
          <a:p>
            <a:pPr lvl="0" algn="l">
              <a:spcBef>
                <a:spcPct val="0"/>
              </a:spcBef>
              <a:defRPr/>
            </a:pPr>
            <a:r>
              <a:rPr lang="ru-RU" sz="1200" dirty="0" smtClea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ГРАМОТНОСТЬ</a:t>
            </a:r>
            <a:endParaRPr lang="ru-RU" sz="1200" dirty="0"/>
          </a:p>
        </p:txBody>
      </p:sp>
      <p:sp>
        <p:nvSpPr>
          <p:cNvPr id="39" name="TextBox 38"/>
          <p:cNvSpPr txBox="1"/>
          <p:nvPr/>
        </p:nvSpPr>
        <p:spPr>
          <a:xfrm>
            <a:off x="1029280" y="5306090"/>
            <a:ext cx="2291229" cy="509964"/>
          </a:xfrm>
          <a:prstGeom prst="rect">
            <a:avLst/>
          </a:prstGeom>
          <a:solidFill>
            <a:srgbClr val="EFF5FB"/>
          </a:solidFill>
        </p:spPr>
        <p:txBody>
          <a:bodyPr wrap="square" lIns="72000" tIns="72000" rIns="72000" bIns="72000" rtlCol="0" anchor="ctr" anchorCtr="0">
            <a:noAutofit/>
          </a:bodyPr>
          <a:lstStyle/>
          <a:p>
            <a:r>
              <a:rPr lang="en-US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II</a:t>
            </a:r>
            <a:r>
              <a:rPr lang="ru-RU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УЧЕБНАЯ ЧЕТВЕРТЬ </a:t>
            </a:r>
            <a:endParaRPr lang="en-US" sz="1200" b="1" dirty="0" smtClean="0">
              <a:solidFill>
                <a:schemeClr val="tx1">
                  <a:lumMod val="85000"/>
                  <a:lumOff val="1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r>
              <a:rPr lang="ru-RU" sz="11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(январь – март)</a:t>
            </a:r>
            <a:endParaRPr lang="en-US" sz="1100" dirty="0" smtClean="0">
              <a:solidFill>
                <a:schemeClr val="tx1">
                  <a:lumMod val="85000"/>
                  <a:lumOff val="1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2954731" y="5306090"/>
            <a:ext cx="3622238" cy="509963"/>
          </a:xfrm>
          <a:prstGeom prst="rect">
            <a:avLst/>
          </a:prstGeom>
          <a:solidFill>
            <a:srgbClr val="40A7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ctr">
              <a:defRPr sz="1400" b="1">
                <a:solidFill>
                  <a:schemeClr val="lt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 algn="l">
              <a:spcBef>
                <a:spcPct val="0"/>
              </a:spcBef>
              <a:defRPr/>
            </a:pPr>
            <a:r>
              <a:rPr lang="ru-RU" sz="1200" dirty="0" smtClea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АТЕМАТИЧЕСКАЯ ГРАМОТНОСТЬ </a:t>
            </a:r>
          </a:p>
          <a:p>
            <a:pPr lvl="0" algn="l">
              <a:spcBef>
                <a:spcPct val="0"/>
              </a:spcBef>
              <a:defRPr/>
            </a:pPr>
            <a:r>
              <a:rPr lang="ru-RU" sz="1200" dirty="0" smtClea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+ КРЕАТИВНОЕ МЫШЛЕНИЕ</a:t>
            </a:r>
            <a:endParaRPr lang="ru-RU" sz="12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1" y="2113917"/>
            <a:ext cx="12188947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b="1" dirty="0" smtClean="0">
                <a:solidFill>
                  <a:srgbClr val="0070C0"/>
                </a:solidFill>
                <a:latin typeface="Open Sans Extrabold" pitchFamily="34" charset="0"/>
                <a:ea typeface="Open Sans Extrabold" pitchFamily="34" charset="0"/>
                <a:cs typeface="Open Sans Extrabold" pitchFamily="34" charset="0"/>
              </a:rPr>
              <a:t>ВАРИАНТЫ</a:t>
            </a:r>
            <a:r>
              <a:rPr lang="ru-RU" b="1" dirty="0" smtClean="0">
                <a:solidFill>
                  <a:srgbClr val="0073B8"/>
                </a:solidFill>
                <a:latin typeface="Open Sans Extrabold" pitchFamily="34" charset="0"/>
                <a:ea typeface="Open Sans Extrabold" pitchFamily="34" charset="0"/>
                <a:cs typeface="Open Sans Extrabold" pitchFamily="34" charset="0"/>
              </a:rPr>
              <a:t> РЕАЛИЗАЦИИ</a:t>
            </a:r>
          </a:p>
          <a:p>
            <a:pPr algn="ctr">
              <a:lnSpc>
                <a:spcPct val="90000"/>
              </a:lnSpc>
            </a:pPr>
            <a:r>
              <a:rPr lang="ru-RU" b="1" dirty="0">
                <a:solidFill>
                  <a:srgbClr val="0073B8"/>
                </a:solidFill>
                <a:latin typeface="Open Sans Extrabold" pitchFamily="34" charset="0"/>
                <a:ea typeface="Open Sans Extrabold" pitchFamily="34" charset="0"/>
                <a:cs typeface="Open Sans Extrabold" pitchFamily="34" charset="0"/>
              </a:rPr>
              <a:t>д</a:t>
            </a:r>
            <a:r>
              <a:rPr lang="ru-RU" b="1" dirty="0" smtClean="0">
                <a:solidFill>
                  <a:srgbClr val="0073B8"/>
                </a:solidFill>
                <a:latin typeface="Open Sans Extrabold" pitchFamily="34" charset="0"/>
                <a:ea typeface="Open Sans Extrabold" pitchFamily="34" charset="0"/>
                <a:cs typeface="Open Sans Extrabold" pitchFamily="34" charset="0"/>
              </a:rPr>
              <a:t>ля 7–8 классов 2020–2022 г.</a:t>
            </a:r>
            <a:endParaRPr lang="ru-RU" b="1" dirty="0">
              <a:solidFill>
                <a:srgbClr val="0073B8"/>
              </a:solidFill>
              <a:latin typeface="Open Sans Extrabold" pitchFamily="34" charset="0"/>
              <a:ea typeface="Open Sans Extrabold" pitchFamily="34" charset="0"/>
              <a:cs typeface="Open Sans Extrabold" pitchFamily="34" charset="0"/>
            </a:endParaRPr>
          </a:p>
        </p:txBody>
      </p:sp>
      <p:sp>
        <p:nvSpPr>
          <p:cNvPr id="42" name="Прямоугольник 41"/>
          <p:cNvSpPr/>
          <p:nvPr/>
        </p:nvSpPr>
        <p:spPr>
          <a:xfrm>
            <a:off x="410254" y="2763649"/>
            <a:ext cx="5451984" cy="8402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b="1" dirty="0">
                <a:solidFill>
                  <a:srgbClr val="0073B8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неурочная </a:t>
            </a:r>
            <a:r>
              <a:rPr lang="ru-RU" b="1" dirty="0" smtClean="0">
                <a:solidFill>
                  <a:srgbClr val="0073B8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деятельность/курсы по выбору</a:t>
            </a:r>
          </a:p>
          <a:p>
            <a:pPr algn="ctr">
              <a:lnSpc>
                <a:spcPct val="90000"/>
              </a:lnSpc>
            </a:pPr>
            <a:r>
              <a:rPr lang="ru-RU" b="1" dirty="0" smtClean="0">
                <a:solidFill>
                  <a:srgbClr val="0073B8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1 </a:t>
            </a:r>
            <a:r>
              <a:rPr lang="ru-RU" b="1" dirty="0">
                <a:solidFill>
                  <a:srgbClr val="0073B8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час в неделю</a:t>
            </a:r>
          </a:p>
          <a:p>
            <a:pPr algn="ctr">
              <a:lnSpc>
                <a:spcPct val="90000"/>
              </a:lnSpc>
            </a:pPr>
            <a:r>
              <a:rPr lang="ru-RU" b="1" dirty="0" smtClean="0">
                <a:solidFill>
                  <a:srgbClr val="0073B8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7685926" y="3336205"/>
            <a:ext cx="4343729" cy="24314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0073B8"/>
                </a:solidFill>
              </a:rPr>
              <a:t>Включение в тематическое планирование конкретных предметов</a:t>
            </a:r>
          </a:p>
          <a:p>
            <a:endParaRPr lang="ru-RU" dirty="0" smtClean="0"/>
          </a:p>
          <a:p>
            <a:r>
              <a:rPr lang="ru-RU" dirty="0" smtClean="0"/>
              <a:t> </a:t>
            </a:r>
            <a:r>
              <a:rPr lang="ru-RU" sz="1600" dirty="0" smtClean="0"/>
              <a:t>Решение заданий в формате </a:t>
            </a:r>
            <a:r>
              <a:rPr lang="ru-RU" sz="1600" dirty="0"/>
              <a:t>международных исследований качества образования </a:t>
            </a:r>
          </a:p>
          <a:p>
            <a:r>
              <a:rPr lang="en-US" sz="1600" dirty="0" smtClean="0"/>
              <a:t> (</a:t>
            </a:r>
            <a:r>
              <a:rPr lang="ru-RU" sz="1600" dirty="0" smtClean="0"/>
              <a:t>не менее 3-х часов в четверть):</a:t>
            </a:r>
          </a:p>
          <a:p>
            <a:pPr marL="285750" indent="-285750">
              <a:buClr>
                <a:srgbClr val="0073B8"/>
              </a:buClr>
              <a:buSzPct val="66000"/>
              <a:buFont typeface="Franklin Gothic Book" pitchFamily="34" charset="0"/>
              <a:buChar char="►"/>
            </a:pPr>
            <a:r>
              <a:rPr lang="ru-RU" sz="1600" dirty="0" smtClean="0"/>
              <a:t>решение, разбор</a:t>
            </a:r>
            <a:r>
              <a:rPr lang="en-US" sz="1600" dirty="0" smtClean="0"/>
              <a:t>;</a:t>
            </a:r>
            <a:endParaRPr lang="ru-RU" sz="1600" dirty="0" smtClean="0"/>
          </a:p>
          <a:p>
            <a:pPr marL="285750" indent="-285750">
              <a:buClr>
                <a:srgbClr val="0073B8"/>
              </a:buClr>
              <a:buSzPct val="66000"/>
              <a:buFont typeface="Franklin Gothic Book" pitchFamily="34" charset="0"/>
              <a:buChar char="►"/>
            </a:pPr>
            <a:r>
              <a:rPr lang="ru-RU" sz="1600" dirty="0" smtClean="0"/>
              <a:t>решение в группах</a:t>
            </a:r>
            <a:r>
              <a:rPr lang="en-US" sz="1600" dirty="0" smtClean="0"/>
              <a:t>;</a:t>
            </a:r>
            <a:endParaRPr lang="ru-RU" sz="1600" dirty="0" smtClean="0"/>
          </a:p>
          <a:p>
            <a:pPr marL="285750" indent="-285750">
              <a:buClr>
                <a:srgbClr val="0073B8"/>
              </a:buClr>
              <a:buSzPct val="66000"/>
              <a:buFont typeface="Franklin Gothic Book" pitchFamily="34" charset="0"/>
              <a:buChar char="►"/>
            </a:pPr>
            <a:r>
              <a:rPr lang="ru-RU" sz="1600" dirty="0" smtClean="0"/>
              <a:t>решение самостоятельно с рефлексией</a:t>
            </a:r>
            <a:r>
              <a:rPr lang="en-US" sz="1600" dirty="0" smtClean="0"/>
              <a:t>.</a:t>
            </a:r>
            <a:endParaRPr lang="ru-RU" sz="1600" dirty="0"/>
          </a:p>
        </p:txBody>
      </p:sp>
      <p:sp>
        <p:nvSpPr>
          <p:cNvPr id="44" name="Прямоугольник 43"/>
          <p:cNvSpPr/>
          <p:nvPr/>
        </p:nvSpPr>
        <p:spPr>
          <a:xfrm>
            <a:off x="7690313" y="2763675"/>
            <a:ext cx="4047004" cy="3416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b="1" dirty="0" smtClean="0">
                <a:solidFill>
                  <a:srgbClr val="0073B8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Часть учебного плана </a:t>
            </a:r>
            <a:endParaRPr lang="ru-RU" b="1" dirty="0">
              <a:solidFill>
                <a:srgbClr val="0073B8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5" name="Freeform 6"/>
          <p:cNvSpPr>
            <a:spLocks noEditPoints="1"/>
          </p:cNvSpPr>
          <p:nvPr/>
        </p:nvSpPr>
        <p:spPr bwMode="auto">
          <a:xfrm>
            <a:off x="610450" y="3527027"/>
            <a:ext cx="338950" cy="334766"/>
          </a:xfrm>
          <a:custGeom>
            <a:avLst/>
            <a:gdLst>
              <a:gd name="T0" fmla="*/ 1848 w 1894"/>
              <a:gd name="T1" fmla="*/ 177 h 1864"/>
              <a:gd name="T2" fmla="*/ 1848 w 1894"/>
              <a:gd name="T3" fmla="*/ 1818 h 1864"/>
              <a:gd name="T4" fmla="*/ 157 w 1894"/>
              <a:gd name="T5" fmla="*/ 1864 h 1864"/>
              <a:gd name="T6" fmla="*/ 0 w 1894"/>
              <a:gd name="T7" fmla="*/ 288 h 1864"/>
              <a:gd name="T8" fmla="*/ 46 w 1894"/>
              <a:gd name="T9" fmla="*/ 177 h 1864"/>
              <a:gd name="T10" fmla="*/ 394 w 1894"/>
              <a:gd name="T11" fmla="*/ 0 h 1864"/>
              <a:gd name="T12" fmla="*/ 394 w 1894"/>
              <a:gd name="T13" fmla="*/ 400 h 1864"/>
              <a:gd name="T14" fmla="*/ 122 w 1894"/>
              <a:gd name="T15" fmla="*/ 253 h 1864"/>
              <a:gd name="T16" fmla="*/ 107 w 1894"/>
              <a:gd name="T17" fmla="*/ 621 h 1864"/>
              <a:gd name="T18" fmla="*/ 1772 w 1894"/>
              <a:gd name="T19" fmla="*/ 253 h 1864"/>
              <a:gd name="T20" fmla="*/ 1547 w 1894"/>
              <a:gd name="T21" fmla="*/ 131 h 1864"/>
              <a:gd name="T22" fmla="*/ 1153 w 1894"/>
              <a:gd name="T23" fmla="*/ 1525 h 1864"/>
              <a:gd name="T24" fmla="*/ 1236 w 1894"/>
              <a:gd name="T25" fmla="*/ 1442 h 1864"/>
              <a:gd name="T26" fmla="*/ 1236 w 1894"/>
              <a:gd name="T27" fmla="*/ 1579 h 1864"/>
              <a:gd name="T28" fmla="*/ 879 w 1894"/>
              <a:gd name="T29" fmla="*/ 1525 h 1864"/>
              <a:gd name="T30" fmla="*/ 962 w 1894"/>
              <a:gd name="T31" fmla="*/ 1442 h 1864"/>
              <a:gd name="T32" fmla="*/ 962 w 1894"/>
              <a:gd name="T33" fmla="*/ 1579 h 1864"/>
              <a:gd name="T34" fmla="*/ 329 w 1894"/>
              <a:gd name="T35" fmla="*/ 1525 h 1864"/>
              <a:gd name="T36" fmla="*/ 413 w 1894"/>
              <a:gd name="T37" fmla="*/ 1442 h 1864"/>
              <a:gd name="T38" fmla="*/ 413 w 1894"/>
              <a:gd name="T39" fmla="*/ 1579 h 1864"/>
              <a:gd name="T40" fmla="*/ 604 w 1894"/>
              <a:gd name="T41" fmla="*/ 1525 h 1864"/>
              <a:gd name="T42" fmla="*/ 687 w 1894"/>
              <a:gd name="T43" fmla="*/ 1442 h 1864"/>
              <a:gd name="T44" fmla="*/ 687 w 1894"/>
              <a:gd name="T45" fmla="*/ 1579 h 1864"/>
              <a:gd name="T46" fmla="*/ 1428 w 1894"/>
              <a:gd name="T47" fmla="*/ 976 h 1864"/>
              <a:gd name="T48" fmla="*/ 1511 w 1894"/>
              <a:gd name="T49" fmla="*/ 893 h 1864"/>
              <a:gd name="T50" fmla="*/ 1511 w 1894"/>
              <a:gd name="T51" fmla="*/ 1030 h 1864"/>
              <a:gd name="T52" fmla="*/ 1153 w 1894"/>
              <a:gd name="T53" fmla="*/ 976 h 1864"/>
              <a:gd name="T54" fmla="*/ 1236 w 1894"/>
              <a:gd name="T55" fmla="*/ 893 h 1864"/>
              <a:gd name="T56" fmla="*/ 1236 w 1894"/>
              <a:gd name="T57" fmla="*/ 1030 h 1864"/>
              <a:gd name="T58" fmla="*/ 879 w 1894"/>
              <a:gd name="T59" fmla="*/ 976 h 1864"/>
              <a:gd name="T60" fmla="*/ 962 w 1894"/>
              <a:gd name="T61" fmla="*/ 893 h 1864"/>
              <a:gd name="T62" fmla="*/ 962 w 1894"/>
              <a:gd name="T63" fmla="*/ 1030 h 1864"/>
              <a:gd name="T64" fmla="*/ 604 w 1894"/>
              <a:gd name="T65" fmla="*/ 976 h 1864"/>
              <a:gd name="T66" fmla="*/ 687 w 1894"/>
              <a:gd name="T67" fmla="*/ 893 h 1864"/>
              <a:gd name="T68" fmla="*/ 687 w 1894"/>
              <a:gd name="T69" fmla="*/ 1030 h 1864"/>
              <a:gd name="T70" fmla="*/ 1428 w 1894"/>
              <a:gd name="T71" fmla="*/ 1251 h 1864"/>
              <a:gd name="T72" fmla="*/ 1511 w 1894"/>
              <a:gd name="T73" fmla="*/ 1168 h 1864"/>
              <a:gd name="T74" fmla="*/ 1511 w 1894"/>
              <a:gd name="T75" fmla="*/ 1304 h 1864"/>
              <a:gd name="T76" fmla="*/ 1153 w 1894"/>
              <a:gd name="T77" fmla="*/ 1251 h 1864"/>
              <a:gd name="T78" fmla="*/ 1236 w 1894"/>
              <a:gd name="T79" fmla="*/ 1168 h 1864"/>
              <a:gd name="T80" fmla="*/ 1236 w 1894"/>
              <a:gd name="T81" fmla="*/ 1304 h 1864"/>
              <a:gd name="T82" fmla="*/ 879 w 1894"/>
              <a:gd name="T83" fmla="*/ 1251 h 1864"/>
              <a:gd name="T84" fmla="*/ 962 w 1894"/>
              <a:gd name="T85" fmla="*/ 1168 h 1864"/>
              <a:gd name="T86" fmla="*/ 962 w 1894"/>
              <a:gd name="T87" fmla="*/ 1304 h 1864"/>
              <a:gd name="T88" fmla="*/ 329 w 1894"/>
              <a:gd name="T89" fmla="*/ 1251 h 1864"/>
              <a:gd name="T90" fmla="*/ 413 w 1894"/>
              <a:gd name="T91" fmla="*/ 1168 h 1864"/>
              <a:gd name="T92" fmla="*/ 413 w 1894"/>
              <a:gd name="T93" fmla="*/ 1304 h 1864"/>
              <a:gd name="T94" fmla="*/ 604 w 1894"/>
              <a:gd name="T95" fmla="*/ 1251 h 1864"/>
              <a:gd name="T96" fmla="*/ 687 w 1894"/>
              <a:gd name="T97" fmla="*/ 1168 h 1864"/>
              <a:gd name="T98" fmla="*/ 687 w 1894"/>
              <a:gd name="T99" fmla="*/ 1304 h 1864"/>
              <a:gd name="T100" fmla="*/ 845 w 1894"/>
              <a:gd name="T101" fmla="*/ 400 h 1864"/>
              <a:gd name="T102" fmla="*/ 645 w 1894"/>
              <a:gd name="T103" fmla="*/ 131 h 1864"/>
              <a:gd name="T104" fmla="*/ 953 w 1894"/>
              <a:gd name="T105" fmla="*/ 0 h 1864"/>
              <a:gd name="T106" fmla="*/ 1296 w 1894"/>
              <a:gd name="T107" fmla="*/ 400 h 1864"/>
              <a:gd name="T108" fmla="*/ 1096 w 1894"/>
              <a:gd name="T109" fmla="*/ 131 h 1864"/>
              <a:gd name="T110" fmla="*/ 1404 w 1894"/>
              <a:gd name="T111" fmla="*/ 0 h 1864"/>
              <a:gd name="T112" fmla="*/ 122 w 1894"/>
              <a:gd name="T113" fmla="*/ 1742 h 1864"/>
              <a:gd name="T114" fmla="*/ 1772 w 1894"/>
              <a:gd name="T115" fmla="*/ 1742 h 1864"/>
              <a:gd name="T116" fmla="*/ 1787 w 1894"/>
              <a:gd name="T117" fmla="*/ 1707 h 18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894" h="1864">
                <a:moveTo>
                  <a:pt x="1547" y="131"/>
                </a:moveTo>
                <a:lnTo>
                  <a:pt x="1737" y="131"/>
                </a:lnTo>
                <a:cubicBezTo>
                  <a:pt x="1780" y="131"/>
                  <a:pt x="1820" y="149"/>
                  <a:pt x="1848" y="177"/>
                </a:cubicBezTo>
                <a:cubicBezTo>
                  <a:pt x="1876" y="206"/>
                  <a:pt x="1894" y="245"/>
                  <a:pt x="1894" y="288"/>
                </a:cubicBezTo>
                <a:lnTo>
                  <a:pt x="1894" y="1707"/>
                </a:lnTo>
                <a:cubicBezTo>
                  <a:pt x="1894" y="1750"/>
                  <a:pt x="1876" y="1789"/>
                  <a:pt x="1848" y="1818"/>
                </a:cubicBezTo>
                <a:lnTo>
                  <a:pt x="1848" y="1818"/>
                </a:lnTo>
                <a:cubicBezTo>
                  <a:pt x="1820" y="1846"/>
                  <a:pt x="1780" y="1864"/>
                  <a:pt x="1737" y="1864"/>
                </a:cubicBezTo>
                <a:lnTo>
                  <a:pt x="157" y="1864"/>
                </a:lnTo>
                <a:cubicBezTo>
                  <a:pt x="114" y="1864"/>
                  <a:pt x="74" y="1846"/>
                  <a:pt x="46" y="1818"/>
                </a:cubicBezTo>
                <a:cubicBezTo>
                  <a:pt x="18" y="1789"/>
                  <a:pt x="0" y="1750"/>
                  <a:pt x="0" y="1707"/>
                </a:cubicBezTo>
                <a:lnTo>
                  <a:pt x="0" y="288"/>
                </a:lnTo>
                <a:cubicBezTo>
                  <a:pt x="0" y="245"/>
                  <a:pt x="18" y="206"/>
                  <a:pt x="46" y="177"/>
                </a:cubicBezTo>
                <a:lnTo>
                  <a:pt x="46" y="177"/>
                </a:lnTo>
                <a:lnTo>
                  <a:pt x="46" y="177"/>
                </a:lnTo>
                <a:cubicBezTo>
                  <a:pt x="74" y="149"/>
                  <a:pt x="114" y="131"/>
                  <a:pt x="157" y="131"/>
                </a:cubicBezTo>
                <a:lnTo>
                  <a:pt x="394" y="131"/>
                </a:lnTo>
                <a:lnTo>
                  <a:pt x="394" y="0"/>
                </a:lnTo>
                <a:lnTo>
                  <a:pt x="501" y="0"/>
                </a:lnTo>
                <a:lnTo>
                  <a:pt x="501" y="400"/>
                </a:lnTo>
                <a:lnTo>
                  <a:pt x="394" y="400"/>
                </a:lnTo>
                <a:lnTo>
                  <a:pt x="394" y="238"/>
                </a:lnTo>
                <a:lnTo>
                  <a:pt x="157" y="238"/>
                </a:lnTo>
                <a:cubicBezTo>
                  <a:pt x="143" y="238"/>
                  <a:pt x="131" y="244"/>
                  <a:pt x="122" y="253"/>
                </a:cubicBezTo>
                <a:lnTo>
                  <a:pt x="122" y="253"/>
                </a:lnTo>
                <a:cubicBezTo>
                  <a:pt x="113" y="262"/>
                  <a:pt x="107" y="274"/>
                  <a:pt x="107" y="288"/>
                </a:cubicBezTo>
                <a:lnTo>
                  <a:pt x="107" y="621"/>
                </a:lnTo>
                <a:lnTo>
                  <a:pt x="1787" y="621"/>
                </a:lnTo>
                <a:lnTo>
                  <a:pt x="1787" y="288"/>
                </a:lnTo>
                <a:cubicBezTo>
                  <a:pt x="1787" y="274"/>
                  <a:pt x="1781" y="262"/>
                  <a:pt x="1772" y="253"/>
                </a:cubicBezTo>
                <a:cubicBezTo>
                  <a:pt x="1763" y="244"/>
                  <a:pt x="1751" y="238"/>
                  <a:pt x="1737" y="238"/>
                </a:cubicBezTo>
                <a:lnTo>
                  <a:pt x="1547" y="238"/>
                </a:lnTo>
                <a:lnTo>
                  <a:pt x="1547" y="131"/>
                </a:lnTo>
                <a:close/>
                <a:moveTo>
                  <a:pt x="1236" y="1579"/>
                </a:moveTo>
                <a:lnTo>
                  <a:pt x="1207" y="1579"/>
                </a:lnTo>
                <a:cubicBezTo>
                  <a:pt x="1177" y="1579"/>
                  <a:pt x="1153" y="1555"/>
                  <a:pt x="1153" y="1525"/>
                </a:cubicBezTo>
                <a:lnTo>
                  <a:pt x="1153" y="1496"/>
                </a:lnTo>
                <a:cubicBezTo>
                  <a:pt x="1153" y="1466"/>
                  <a:pt x="1177" y="1442"/>
                  <a:pt x="1207" y="1442"/>
                </a:cubicBezTo>
                <a:lnTo>
                  <a:pt x="1236" y="1442"/>
                </a:lnTo>
                <a:cubicBezTo>
                  <a:pt x="1266" y="1442"/>
                  <a:pt x="1290" y="1466"/>
                  <a:pt x="1290" y="1496"/>
                </a:cubicBezTo>
                <a:lnTo>
                  <a:pt x="1290" y="1525"/>
                </a:lnTo>
                <a:cubicBezTo>
                  <a:pt x="1290" y="1555"/>
                  <a:pt x="1266" y="1579"/>
                  <a:pt x="1236" y="1579"/>
                </a:cubicBezTo>
                <a:close/>
                <a:moveTo>
                  <a:pt x="962" y="1579"/>
                </a:moveTo>
                <a:lnTo>
                  <a:pt x="932" y="1579"/>
                </a:lnTo>
                <a:cubicBezTo>
                  <a:pt x="903" y="1579"/>
                  <a:pt x="879" y="1555"/>
                  <a:pt x="879" y="1525"/>
                </a:cubicBezTo>
                <a:lnTo>
                  <a:pt x="879" y="1496"/>
                </a:lnTo>
                <a:cubicBezTo>
                  <a:pt x="879" y="1466"/>
                  <a:pt x="903" y="1442"/>
                  <a:pt x="932" y="1442"/>
                </a:cubicBezTo>
                <a:lnTo>
                  <a:pt x="962" y="1442"/>
                </a:lnTo>
                <a:cubicBezTo>
                  <a:pt x="992" y="1442"/>
                  <a:pt x="1016" y="1466"/>
                  <a:pt x="1016" y="1496"/>
                </a:cubicBezTo>
                <a:lnTo>
                  <a:pt x="1016" y="1525"/>
                </a:lnTo>
                <a:cubicBezTo>
                  <a:pt x="1016" y="1555"/>
                  <a:pt x="992" y="1579"/>
                  <a:pt x="962" y="1579"/>
                </a:cubicBezTo>
                <a:close/>
                <a:moveTo>
                  <a:pt x="413" y="1579"/>
                </a:moveTo>
                <a:lnTo>
                  <a:pt x="383" y="1579"/>
                </a:lnTo>
                <a:cubicBezTo>
                  <a:pt x="353" y="1579"/>
                  <a:pt x="329" y="1555"/>
                  <a:pt x="329" y="1525"/>
                </a:cubicBezTo>
                <a:lnTo>
                  <a:pt x="329" y="1496"/>
                </a:lnTo>
                <a:cubicBezTo>
                  <a:pt x="329" y="1466"/>
                  <a:pt x="353" y="1442"/>
                  <a:pt x="383" y="1442"/>
                </a:cubicBezTo>
                <a:lnTo>
                  <a:pt x="413" y="1442"/>
                </a:lnTo>
                <a:cubicBezTo>
                  <a:pt x="442" y="1442"/>
                  <a:pt x="466" y="1466"/>
                  <a:pt x="466" y="1496"/>
                </a:cubicBezTo>
                <a:lnTo>
                  <a:pt x="466" y="1525"/>
                </a:lnTo>
                <a:cubicBezTo>
                  <a:pt x="466" y="1555"/>
                  <a:pt x="442" y="1579"/>
                  <a:pt x="413" y="1579"/>
                </a:cubicBezTo>
                <a:close/>
                <a:moveTo>
                  <a:pt x="687" y="1579"/>
                </a:moveTo>
                <a:lnTo>
                  <a:pt x="658" y="1579"/>
                </a:lnTo>
                <a:cubicBezTo>
                  <a:pt x="628" y="1579"/>
                  <a:pt x="604" y="1555"/>
                  <a:pt x="604" y="1525"/>
                </a:cubicBezTo>
                <a:lnTo>
                  <a:pt x="604" y="1496"/>
                </a:lnTo>
                <a:cubicBezTo>
                  <a:pt x="604" y="1466"/>
                  <a:pt x="628" y="1442"/>
                  <a:pt x="658" y="1442"/>
                </a:cubicBezTo>
                <a:lnTo>
                  <a:pt x="687" y="1442"/>
                </a:lnTo>
                <a:cubicBezTo>
                  <a:pt x="717" y="1442"/>
                  <a:pt x="741" y="1466"/>
                  <a:pt x="741" y="1496"/>
                </a:cubicBezTo>
                <a:lnTo>
                  <a:pt x="741" y="1525"/>
                </a:lnTo>
                <a:cubicBezTo>
                  <a:pt x="741" y="1555"/>
                  <a:pt x="717" y="1579"/>
                  <a:pt x="687" y="1579"/>
                </a:cubicBezTo>
                <a:close/>
                <a:moveTo>
                  <a:pt x="1511" y="1030"/>
                </a:moveTo>
                <a:lnTo>
                  <a:pt x="1481" y="1030"/>
                </a:lnTo>
                <a:cubicBezTo>
                  <a:pt x="1452" y="1030"/>
                  <a:pt x="1428" y="1006"/>
                  <a:pt x="1428" y="976"/>
                </a:cubicBezTo>
                <a:lnTo>
                  <a:pt x="1428" y="947"/>
                </a:lnTo>
                <a:cubicBezTo>
                  <a:pt x="1428" y="917"/>
                  <a:pt x="1452" y="893"/>
                  <a:pt x="1481" y="893"/>
                </a:cubicBezTo>
                <a:lnTo>
                  <a:pt x="1511" y="893"/>
                </a:lnTo>
                <a:cubicBezTo>
                  <a:pt x="1541" y="893"/>
                  <a:pt x="1565" y="917"/>
                  <a:pt x="1565" y="947"/>
                </a:cubicBezTo>
                <a:lnTo>
                  <a:pt x="1565" y="976"/>
                </a:lnTo>
                <a:cubicBezTo>
                  <a:pt x="1565" y="1006"/>
                  <a:pt x="1541" y="1030"/>
                  <a:pt x="1511" y="1030"/>
                </a:cubicBezTo>
                <a:close/>
                <a:moveTo>
                  <a:pt x="1236" y="1030"/>
                </a:moveTo>
                <a:lnTo>
                  <a:pt x="1207" y="1030"/>
                </a:lnTo>
                <a:cubicBezTo>
                  <a:pt x="1177" y="1030"/>
                  <a:pt x="1153" y="1006"/>
                  <a:pt x="1153" y="976"/>
                </a:cubicBezTo>
                <a:lnTo>
                  <a:pt x="1153" y="947"/>
                </a:lnTo>
                <a:cubicBezTo>
                  <a:pt x="1153" y="917"/>
                  <a:pt x="1177" y="893"/>
                  <a:pt x="1207" y="893"/>
                </a:cubicBezTo>
                <a:lnTo>
                  <a:pt x="1236" y="893"/>
                </a:lnTo>
                <a:cubicBezTo>
                  <a:pt x="1266" y="893"/>
                  <a:pt x="1290" y="917"/>
                  <a:pt x="1290" y="947"/>
                </a:cubicBezTo>
                <a:lnTo>
                  <a:pt x="1290" y="976"/>
                </a:lnTo>
                <a:cubicBezTo>
                  <a:pt x="1290" y="1006"/>
                  <a:pt x="1266" y="1030"/>
                  <a:pt x="1236" y="1030"/>
                </a:cubicBezTo>
                <a:close/>
                <a:moveTo>
                  <a:pt x="962" y="1030"/>
                </a:moveTo>
                <a:lnTo>
                  <a:pt x="932" y="1030"/>
                </a:lnTo>
                <a:cubicBezTo>
                  <a:pt x="903" y="1030"/>
                  <a:pt x="879" y="1006"/>
                  <a:pt x="879" y="976"/>
                </a:cubicBezTo>
                <a:lnTo>
                  <a:pt x="879" y="947"/>
                </a:lnTo>
                <a:cubicBezTo>
                  <a:pt x="879" y="917"/>
                  <a:pt x="903" y="893"/>
                  <a:pt x="932" y="893"/>
                </a:cubicBezTo>
                <a:lnTo>
                  <a:pt x="962" y="893"/>
                </a:lnTo>
                <a:cubicBezTo>
                  <a:pt x="992" y="893"/>
                  <a:pt x="1016" y="917"/>
                  <a:pt x="1016" y="947"/>
                </a:cubicBezTo>
                <a:lnTo>
                  <a:pt x="1016" y="976"/>
                </a:lnTo>
                <a:cubicBezTo>
                  <a:pt x="1016" y="1006"/>
                  <a:pt x="992" y="1030"/>
                  <a:pt x="962" y="1030"/>
                </a:cubicBezTo>
                <a:close/>
                <a:moveTo>
                  <a:pt x="687" y="1030"/>
                </a:moveTo>
                <a:lnTo>
                  <a:pt x="658" y="1030"/>
                </a:lnTo>
                <a:cubicBezTo>
                  <a:pt x="628" y="1030"/>
                  <a:pt x="604" y="1006"/>
                  <a:pt x="604" y="976"/>
                </a:cubicBezTo>
                <a:lnTo>
                  <a:pt x="604" y="947"/>
                </a:lnTo>
                <a:cubicBezTo>
                  <a:pt x="604" y="917"/>
                  <a:pt x="628" y="893"/>
                  <a:pt x="658" y="893"/>
                </a:cubicBezTo>
                <a:lnTo>
                  <a:pt x="687" y="893"/>
                </a:lnTo>
                <a:cubicBezTo>
                  <a:pt x="717" y="893"/>
                  <a:pt x="741" y="917"/>
                  <a:pt x="741" y="947"/>
                </a:cubicBezTo>
                <a:lnTo>
                  <a:pt x="741" y="976"/>
                </a:lnTo>
                <a:cubicBezTo>
                  <a:pt x="741" y="1006"/>
                  <a:pt x="717" y="1030"/>
                  <a:pt x="687" y="1030"/>
                </a:cubicBezTo>
                <a:close/>
                <a:moveTo>
                  <a:pt x="1511" y="1304"/>
                </a:moveTo>
                <a:lnTo>
                  <a:pt x="1481" y="1304"/>
                </a:lnTo>
                <a:cubicBezTo>
                  <a:pt x="1452" y="1304"/>
                  <a:pt x="1428" y="1280"/>
                  <a:pt x="1428" y="1251"/>
                </a:cubicBezTo>
                <a:lnTo>
                  <a:pt x="1428" y="1221"/>
                </a:lnTo>
                <a:cubicBezTo>
                  <a:pt x="1428" y="1192"/>
                  <a:pt x="1452" y="1168"/>
                  <a:pt x="1481" y="1168"/>
                </a:cubicBezTo>
                <a:lnTo>
                  <a:pt x="1511" y="1168"/>
                </a:lnTo>
                <a:cubicBezTo>
                  <a:pt x="1541" y="1168"/>
                  <a:pt x="1565" y="1192"/>
                  <a:pt x="1565" y="1221"/>
                </a:cubicBezTo>
                <a:lnTo>
                  <a:pt x="1565" y="1251"/>
                </a:lnTo>
                <a:cubicBezTo>
                  <a:pt x="1565" y="1280"/>
                  <a:pt x="1541" y="1304"/>
                  <a:pt x="1511" y="1304"/>
                </a:cubicBezTo>
                <a:close/>
                <a:moveTo>
                  <a:pt x="1236" y="1304"/>
                </a:moveTo>
                <a:lnTo>
                  <a:pt x="1207" y="1304"/>
                </a:lnTo>
                <a:cubicBezTo>
                  <a:pt x="1177" y="1304"/>
                  <a:pt x="1153" y="1280"/>
                  <a:pt x="1153" y="1251"/>
                </a:cubicBezTo>
                <a:lnTo>
                  <a:pt x="1153" y="1221"/>
                </a:lnTo>
                <a:cubicBezTo>
                  <a:pt x="1153" y="1192"/>
                  <a:pt x="1177" y="1168"/>
                  <a:pt x="1207" y="1168"/>
                </a:cubicBezTo>
                <a:lnTo>
                  <a:pt x="1236" y="1168"/>
                </a:lnTo>
                <a:cubicBezTo>
                  <a:pt x="1266" y="1168"/>
                  <a:pt x="1290" y="1192"/>
                  <a:pt x="1290" y="1221"/>
                </a:cubicBezTo>
                <a:lnTo>
                  <a:pt x="1290" y="1251"/>
                </a:lnTo>
                <a:cubicBezTo>
                  <a:pt x="1290" y="1280"/>
                  <a:pt x="1266" y="1304"/>
                  <a:pt x="1236" y="1304"/>
                </a:cubicBezTo>
                <a:close/>
                <a:moveTo>
                  <a:pt x="962" y="1304"/>
                </a:moveTo>
                <a:lnTo>
                  <a:pt x="932" y="1304"/>
                </a:lnTo>
                <a:cubicBezTo>
                  <a:pt x="903" y="1304"/>
                  <a:pt x="879" y="1280"/>
                  <a:pt x="879" y="1251"/>
                </a:cubicBezTo>
                <a:lnTo>
                  <a:pt x="879" y="1221"/>
                </a:lnTo>
                <a:cubicBezTo>
                  <a:pt x="879" y="1192"/>
                  <a:pt x="903" y="1168"/>
                  <a:pt x="932" y="1168"/>
                </a:cubicBezTo>
                <a:lnTo>
                  <a:pt x="962" y="1168"/>
                </a:lnTo>
                <a:cubicBezTo>
                  <a:pt x="992" y="1168"/>
                  <a:pt x="1016" y="1192"/>
                  <a:pt x="1016" y="1221"/>
                </a:cubicBezTo>
                <a:lnTo>
                  <a:pt x="1016" y="1251"/>
                </a:lnTo>
                <a:cubicBezTo>
                  <a:pt x="1016" y="1280"/>
                  <a:pt x="992" y="1304"/>
                  <a:pt x="962" y="1304"/>
                </a:cubicBezTo>
                <a:close/>
                <a:moveTo>
                  <a:pt x="413" y="1304"/>
                </a:moveTo>
                <a:lnTo>
                  <a:pt x="383" y="1304"/>
                </a:lnTo>
                <a:cubicBezTo>
                  <a:pt x="353" y="1304"/>
                  <a:pt x="329" y="1280"/>
                  <a:pt x="329" y="1251"/>
                </a:cubicBezTo>
                <a:lnTo>
                  <a:pt x="329" y="1221"/>
                </a:lnTo>
                <a:cubicBezTo>
                  <a:pt x="329" y="1192"/>
                  <a:pt x="353" y="1168"/>
                  <a:pt x="383" y="1168"/>
                </a:cubicBezTo>
                <a:lnTo>
                  <a:pt x="413" y="1168"/>
                </a:lnTo>
                <a:cubicBezTo>
                  <a:pt x="442" y="1168"/>
                  <a:pt x="466" y="1192"/>
                  <a:pt x="466" y="1221"/>
                </a:cubicBezTo>
                <a:lnTo>
                  <a:pt x="466" y="1251"/>
                </a:lnTo>
                <a:cubicBezTo>
                  <a:pt x="466" y="1280"/>
                  <a:pt x="442" y="1304"/>
                  <a:pt x="413" y="1304"/>
                </a:cubicBezTo>
                <a:close/>
                <a:moveTo>
                  <a:pt x="687" y="1304"/>
                </a:moveTo>
                <a:lnTo>
                  <a:pt x="658" y="1304"/>
                </a:lnTo>
                <a:cubicBezTo>
                  <a:pt x="628" y="1304"/>
                  <a:pt x="604" y="1280"/>
                  <a:pt x="604" y="1251"/>
                </a:cubicBezTo>
                <a:lnTo>
                  <a:pt x="604" y="1221"/>
                </a:lnTo>
                <a:cubicBezTo>
                  <a:pt x="604" y="1192"/>
                  <a:pt x="628" y="1168"/>
                  <a:pt x="658" y="1168"/>
                </a:cubicBezTo>
                <a:lnTo>
                  <a:pt x="687" y="1168"/>
                </a:lnTo>
                <a:cubicBezTo>
                  <a:pt x="717" y="1168"/>
                  <a:pt x="741" y="1192"/>
                  <a:pt x="741" y="1221"/>
                </a:cubicBezTo>
                <a:lnTo>
                  <a:pt x="741" y="1251"/>
                </a:lnTo>
                <a:cubicBezTo>
                  <a:pt x="741" y="1280"/>
                  <a:pt x="717" y="1304"/>
                  <a:pt x="687" y="1304"/>
                </a:cubicBezTo>
                <a:close/>
                <a:moveTo>
                  <a:pt x="953" y="0"/>
                </a:moveTo>
                <a:lnTo>
                  <a:pt x="953" y="400"/>
                </a:lnTo>
                <a:lnTo>
                  <a:pt x="845" y="400"/>
                </a:lnTo>
                <a:lnTo>
                  <a:pt x="845" y="238"/>
                </a:lnTo>
                <a:lnTo>
                  <a:pt x="645" y="238"/>
                </a:lnTo>
                <a:lnTo>
                  <a:pt x="645" y="131"/>
                </a:lnTo>
                <a:lnTo>
                  <a:pt x="845" y="131"/>
                </a:lnTo>
                <a:lnTo>
                  <a:pt x="845" y="0"/>
                </a:lnTo>
                <a:lnTo>
                  <a:pt x="953" y="0"/>
                </a:lnTo>
                <a:close/>
                <a:moveTo>
                  <a:pt x="1404" y="0"/>
                </a:moveTo>
                <a:lnTo>
                  <a:pt x="1404" y="400"/>
                </a:lnTo>
                <a:lnTo>
                  <a:pt x="1296" y="400"/>
                </a:lnTo>
                <a:lnTo>
                  <a:pt x="1296" y="238"/>
                </a:lnTo>
                <a:lnTo>
                  <a:pt x="1096" y="238"/>
                </a:lnTo>
                <a:lnTo>
                  <a:pt x="1096" y="131"/>
                </a:lnTo>
                <a:lnTo>
                  <a:pt x="1296" y="131"/>
                </a:lnTo>
                <a:lnTo>
                  <a:pt x="1296" y="0"/>
                </a:lnTo>
                <a:lnTo>
                  <a:pt x="1404" y="0"/>
                </a:lnTo>
                <a:close/>
                <a:moveTo>
                  <a:pt x="107" y="729"/>
                </a:moveTo>
                <a:lnTo>
                  <a:pt x="107" y="1707"/>
                </a:lnTo>
                <a:cubicBezTo>
                  <a:pt x="107" y="1721"/>
                  <a:pt x="113" y="1733"/>
                  <a:pt x="122" y="1742"/>
                </a:cubicBezTo>
                <a:cubicBezTo>
                  <a:pt x="131" y="1751"/>
                  <a:pt x="143" y="1757"/>
                  <a:pt x="157" y="1757"/>
                </a:cubicBezTo>
                <a:lnTo>
                  <a:pt x="1737" y="1757"/>
                </a:lnTo>
                <a:cubicBezTo>
                  <a:pt x="1751" y="1757"/>
                  <a:pt x="1763" y="1751"/>
                  <a:pt x="1772" y="1742"/>
                </a:cubicBezTo>
                <a:lnTo>
                  <a:pt x="1772" y="1742"/>
                </a:lnTo>
                <a:lnTo>
                  <a:pt x="1772" y="1742"/>
                </a:lnTo>
                <a:cubicBezTo>
                  <a:pt x="1781" y="1733"/>
                  <a:pt x="1787" y="1721"/>
                  <a:pt x="1787" y="1707"/>
                </a:cubicBezTo>
                <a:lnTo>
                  <a:pt x="1787" y="729"/>
                </a:lnTo>
                <a:lnTo>
                  <a:pt x="107" y="72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51" name="Прямоугольник 50"/>
          <p:cNvSpPr/>
          <p:nvPr/>
        </p:nvSpPr>
        <p:spPr>
          <a:xfrm>
            <a:off x="521407" y="4374358"/>
            <a:ext cx="507874" cy="509964"/>
          </a:xfrm>
          <a:prstGeom prst="rect">
            <a:avLst/>
          </a:prstGeom>
          <a:solidFill>
            <a:srgbClr val="40A7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65" name="Freeform 6"/>
          <p:cNvSpPr>
            <a:spLocks noEditPoints="1"/>
          </p:cNvSpPr>
          <p:nvPr/>
        </p:nvSpPr>
        <p:spPr bwMode="auto">
          <a:xfrm>
            <a:off x="610450" y="4458758"/>
            <a:ext cx="338950" cy="334766"/>
          </a:xfrm>
          <a:custGeom>
            <a:avLst/>
            <a:gdLst>
              <a:gd name="T0" fmla="*/ 1848 w 1894"/>
              <a:gd name="T1" fmla="*/ 177 h 1864"/>
              <a:gd name="T2" fmla="*/ 1848 w 1894"/>
              <a:gd name="T3" fmla="*/ 1818 h 1864"/>
              <a:gd name="T4" fmla="*/ 157 w 1894"/>
              <a:gd name="T5" fmla="*/ 1864 h 1864"/>
              <a:gd name="T6" fmla="*/ 0 w 1894"/>
              <a:gd name="T7" fmla="*/ 288 h 1864"/>
              <a:gd name="T8" fmla="*/ 46 w 1894"/>
              <a:gd name="T9" fmla="*/ 177 h 1864"/>
              <a:gd name="T10" fmla="*/ 394 w 1894"/>
              <a:gd name="T11" fmla="*/ 0 h 1864"/>
              <a:gd name="T12" fmla="*/ 394 w 1894"/>
              <a:gd name="T13" fmla="*/ 400 h 1864"/>
              <a:gd name="T14" fmla="*/ 122 w 1894"/>
              <a:gd name="T15" fmla="*/ 253 h 1864"/>
              <a:gd name="T16" fmla="*/ 107 w 1894"/>
              <a:gd name="T17" fmla="*/ 621 h 1864"/>
              <a:gd name="T18" fmla="*/ 1772 w 1894"/>
              <a:gd name="T19" fmla="*/ 253 h 1864"/>
              <a:gd name="T20" fmla="*/ 1547 w 1894"/>
              <a:gd name="T21" fmla="*/ 131 h 1864"/>
              <a:gd name="T22" fmla="*/ 1153 w 1894"/>
              <a:gd name="T23" fmla="*/ 1525 h 1864"/>
              <a:gd name="T24" fmla="*/ 1236 w 1894"/>
              <a:gd name="T25" fmla="*/ 1442 h 1864"/>
              <a:gd name="T26" fmla="*/ 1236 w 1894"/>
              <a:gd name="T27" fmla="*/ 1579 h 1864"/>
              <a:gd name="T28" fmla="*/ 879 w 1894"/>
              <a:gd name="T29" fmla="*/ 1525 h 1864"/>
              <a:gd name="T30" fmla="*/ 962 w 1894"/>
              <a:gd name="T31" fmla="*/ 1442 h 1864"/>
              <a:gd name="T32" fmla="*/ 962 w 1894"/>
              <a:gd name="T33" fmla="*/ 1579 h 1864"/>
              <a:gd name="T34" fmla="*/ 329 w 1894"/>
              <a:gd name="T35" fmla="*/ 1525 h 1864"/>
              <a:gd name="T36" fmla="*/ 413 w 1894"/>
              <a:gd name="T37" fmla="*/ 1442 h 1864"/>
              <a:gd name="T38" fmla="*/ 413 w 1894"/>
              <a:gd name="T39" fmla="*/ 1579 h 1864"/>
              <a:gd name="T40" fmla="*/ 604 w 1894"/>
              <a:gd name="T41" fmla="*/ 1525 h 1864"/>
              <a:gd name="T42" fmla="*/ 687 w 1894"/>
              <a:gd name="T43" fmla="*/ 1442 h 1864"/>
              <a:gd name="T44" fmla="*/ 687 w 1894"/>
              <a:gd name="T45" fmla="*/ 1579 h 1864"/>
              <a:gd name="T46" fmla="*/ 1428 w 1894"/>
              <a:gd name="T47" fmla="*/ 976 h 1864"/>
              <a:gd name="T48" fmla="*/ 1511 w 1894"/>
              <a:gd name="T49" fmla="*/ 893 h 1864"/>
              <a:gd name="T50" fmla="*/ 1511 w 1894"/>
              <a:gd name="T51" fmla="*/ 1030 h 1864"/>
              <a:gd name="T52" fmla="*/ 1153 w 1894"/>
              <a:gd name="T53" fmla="*/ 976 h 1864"/>
              <a:gd name="T54" fmla="*/ 1236 w 1894"/>
              <a:gd name="T55" fmla="*/ 893 h 1864"/>
              <a:gd name="T56" fmla="*/ 1236 w 1894"/>
              <a:gd name="T57" fmla="*/ 1030 h 1864"/>
              <a:gd name="T58" fmla="*/ 879 w 1894"/>
              <a:gd name="T59" fmla="*/ 976 h 1864"/>
              <a:gd name="T60" fmla="*/ 962 w 1894"/>
              <a:gd name="T61" fmla="*/ 893 h 1864"/>
              <a:gd name="T62" fmla="*/ 962 w 1894"/>
              <a:gd name="T63" fmla="*/ 1030 h 1864"/>
              <a:gd name="T64" fmla="*/ 604 w 1894"/>
              <a:gd name="T65" fmla="*/ 976 h 1864"/>
              <a:gd name="T66" fmla="*/ 687 w 1894"/>
              <a:gd name="T67" fmla="*/ 893 h 1864"/>
              <a:gd name="T68" fmla="*/ 687 w 1894"/>
              <a:gd name="T69" fmla="*/ 1030 h 1864"/>
              <a:gd name="T70" fmla="*/ 1428 w 1894"/>
              <a:gd name="T71" fmla="*/ 1251 h 1864"/>
              <a:gd name="T72" fmla="*/ 1511 w 1894"/>
              <a:gd name="T73" fmla="*/ 1168 h 1864"/>
              <a:gd name="T74" fmla="*/ 1511 w 1894"/>
              <a:gd name="T75" fmla="*/ 1304 h 1864"/>
              <a:gd name="T76" fmla="*/ 1153 w 1894"/>
              <a:gd name="T77" fmla="*/ 1251 h 1864"/>
              <a:gd name="T78" fmla="*/ 1236 w 1894"/>
              <a:gd name="T79" fmla="*/ 1168 h 1864"/>
              <a:gd name="T80" fmla="*/ 1236 w 1894"/>
              <a:gd name="T81" fmla="*/ 1304 h 1864"/>
              <a:gd name="T82" fmla="*/ 879 w 1894"/>
              <a:gd name="T83" fmla="*/ 1251 h 1864"/>
              <a:gd name="T84" fmla="*/ 962 w 1894"/>
              <a:gd name="T85" fmla="*/ 1168 h 1864"/>
              <a:gd name="T86" fmla="*/ 962 w 1894"/>
              <a:gd name="T87" fmla="*/ 1304 h 1864"/>
              <a:gd name="T88" fmla="*/ 329 w 1894"/>
              <a:gd name="T89" fmla="*/ 1251 h 1864"/>
              <a:gd name="T90" fmla="*/ 413 w 1894"/>
              <a:gd name="T91" fmla="*/ 1168 h 1864"/>
              <a:gd name="T92" fmla="*/ 413 w 1894"/>
              <a:gd name="T93" fmla="*/ 1304 h 1864"/>
              <a:gd name="T94" fmla="*/ 604 w 1894"/>
              <a:gd name="T95" fmla="*/ 1251 h 1864"/>
              <a:gd name="T96" fmla="*/ 687 w 1894"/>
              <a:gd name="T97" fmla="*/ 1168 h 1864"/>
              <a:gd name="T98" fmla="*/ 687 w 1894"/>
              <a:gd name="T99" fmla="*/ 1304 h 1864"/>
              <a:gd name="T100" fmla="*/ 845 w 1894"/>
              <a:gd name="T101" fmla="*/ 400 h 1864"/>
              <a:gd name="T102" fmla="*/ 645 w 1894"/>
              <a:gd name="T103" fmla="*/ 131 h 1864"/>
              <a:gd name="T104" fmla="*/ 953 w 1894"/>
              <a:gd name="T105" fmla="*/ 0 h 1864"/>
              <a:gd name="T106" fmla="*/ 1296 w 1894"/>
              <a:gd name="T107" fmla="*/ 400 h 1864"/>
              <a:gd name="T108" fmla="*/ 1096 w 1894"/>
              <a:gd name="T109" fmla="*/ 131 h 1864"/>
              <a:gd name="T110" fmla="*/ 1404 w 1894"/>
              <a:gd name="T111" fmla="*/ 0 h 1864"/>
              <a:gd name="T112" fmla="*/ 122 w 1894"/>
              <a:gd name="T113" fmla="*/ 1742 h 1864"/>
              <a:gd name="T114" fmla="*/ 1772 w 1894"/>
              <a:gd name="T115" fmla="*/ 1742 h 1864"/>
              <a:gd name="T116" fmla="*/ 1787 w 1894"/>
              <a:gd name="T117" fmla="*/ 1707 h 18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894" h="1864">
                <a:moveTo>
                  <a:pt x="1547" y="131"/>
                </a:moveTo>
                <a:lnTo>
                  <a:pt x="1737" y="131"/>
                </a:lnTo>
                <a:cubicBezTo>
                  <a:pt x="1780" y="131"/>
                  <a:pt x="1820" y="149"/>
                  <a:pt x="1848" y="177"/>
                </a:cubicBezTo>
                <a:cubicBezTo>
                  <a:pt x="1876" y="206"/>
                  <a:pt x="1894" y="245"/>
                  <a:pt x="1894" y="288"/>
                </a:cubicBezTo>
                <a:lnTo>
                  <a:pt x="1894" y="1707"/>
                </a:lnTo>
                <a:cubicBezTo>
                  <a:pt x="1894" y="1750"/>
                  <a:pt x="1876" y="1789"/>
                  <a:pt x="1848" y="1818"/>
                </a:cubicBezTo>
                <a:lnTo>
                  <a:pt x="1848" y="1818"/>
                </a:lnTo>
                <a:cubicBezTo>
                  <a:pt x="1820" y="1846"/>
                  <a:pt x="1780" y="1864"/>
                  <a:pt x="1737" y="1864"/>
                </a:cubicBezTo>
                <a:lnTo>
                  <a:pt x="157" y="1864"/>
                </a:lnTo>
                <a:cubicBezTo>
                  <a:pt x="114" y="1864"/>
                  <a:pt x="74" y="1846"/>
                  <a:pt x="46" y="1818"/>
                </a:cubicBezTo>
                <a:cubicBezTo>
                  <a:pt x="18" y="1789"/>
                  <a:pt x="0" y="1750"/>
                  <a:pt x="0" y="1707"/>
                </a:cubicBezTo>
                <a:lnTo>
                  <a:pt x="0" y="288"/>
                </a:lnTo>
                <a:cubicBezTo>
                  <a:pt x="0" y="245"/>
                  <a:pt x="18" y="206"/>
                  <a:pt x="46" y="177"/>
                </a:cubicBezTo>
                <a:lnTo>
                  <a:pt x="46" y="177"/>
                </a:lnTo>
                <a:lnTo>
                  <a:pt x="46" y="177"/>
                </a:lnTo>
                <a:cubicBezTo>
                  <a:pt x="74" y="149"/>
                  <a:pt x="114" y="131"/>
                  <a:pt x="157" y="131"/>
                </a:cubicBezTo>
                <a:lnTo>
                  <a:pt x="394" y="131"/>
                </a:lnTo>
                <a:lnTo>
                  <a:pt x="394" y="0"/>
                </a:lnTo>
                <a:lnTo>
                  <a:pt x="501" y="0"/>
                </a:lnTo>
                <a:lnTo>
                  <a:pt x="501" y="400"/>
                </a:lnTo>
                <a:lnTo>
                  <a:pt x="394" y="400"/>
                </a:lnTo>
                <a:lnTo>
                  <a:pt x="394" y="238"/>
                </a:lnTo>
                <a:lnTo>
                  <a:pt x="157" y="238"/>
                </a:lnTo>
                <a:cubicBezTo>
                  <a:pt x="143" y="238"/>
                  <a:pt x="131" y="244"/>
                  <a:pt x="122" y="253"/>
                </a:cubicBezTo>
                <a:lnTo>
                  <a:pt x="122" y="253"/>
                </a:lnTo>
                <a:cubicBezTo>
                  <a:pt x="113" y="262"/>
                  <a:pt x="107" y="274"/>
                  <a:pt x="107" y="288"/>
                </a:cubicBezTo>
                <a:lnTo>
                  <a:pt x="107" y="621"/>
                </a:lnTo>
                <a:lnTo>
                  <a:pt x="1787" y="621"/>
                </a:lnTo>
                <a:lnTo>
                  <a:pt x="1787" y="288"/>
                </a:lnTo>
                <a:cubicBezTo>
                  <a:pt x="1787" y="274"/>
                  <a:pt x="1781" y="262"/>
                  <a:pt x="1772" y="253"/>
                </a:cubicBezTo>
                <a:cubicBezTo>
                  <a:pt x="1763" y="244"/>
                  <a:pt x="1751" y="238"/>
                  <a:pt x="1737" y="238"/>
                </a:cubicBezTo>
                <a:lnTo>
                  <a:pt x="1547" y="238"/>
                </a:lnTo>
                <a:lnTo>
                  <a:pt x="1547" y="131"/>
                </a:lnTo>
                <a:close/>
                <a:moveTo>
                  <a:pt x="1236" y="1579"/>
                </a:moveTo>
                <a:lnTo>
                  <a:pt x="1207" y="1579"/>
                </a:lnTo>
                <a:cubicBezTo>
                  <a:pt x="1177" y="1579"/>
                  <a:pt x="1153" y="1555"/>
                  <a:pt x="1153" y="1525"/>
                </a:cubicBezTo>
                <a:lnTo>
                  <a:pt x="1153" y="1496"/>
                </a:lnTo>
                <a:cubicBezTo>
                  <a:pt x="1153" y="1466"/>
                  <a:pt x="1177" y="1442"/>
                  <a:pt x="1207" y="1442"/>
                </a:cubicBezTo>
                <a:lnTo>
                  <a:pt x="1236" y="1442"/>
                </a:lnTo>
                <a:cubicBezTo>
                  <a:pt x="1266" y="1442"/>
                  <a:pt x="1290" y="1466"/>
                  <a:pt x="1290" y="1496"/>
                </a:cubicBezTo>
                <a:lnTo>
                  <a:pt x="1290" y="1525"/>
                </a:lnTo>
                <a:cubicBezTo>
                  <a:pt x="1290" y="1555"/>
                  <a:pt x="1266" y="1579"/>
                  <a:pt x="1236" y="1579"/>
                </a:cubicBezTo>
                <a:close/>
                <a:moveTo>
                  <a:pt x="962" y="1579"/>
                </a:moveTo>
                <a:lnTo>
                  <a:pt x="932" y="1579"/>
                </a:lnTo>
                <a:cubicBezTo>
                  <a:pt x="903" y="1579"/>
                  <a:pt x="879" y="1555"/>
                  <a:pt x="879" y="1525"/>
                </a:cubicBezTo>
                <a:lnTo>
                  <a:pt x="879" y="1496"/>
                </a:lnTo>
                <a:cubicBezTo>
                  <a:pt x="879" y="1466"/>
                  <a:pt x="903" y="1442"/>
                  <a:pt x="932" y="1442"/>
                </a:cubicBezTo>
                <a:lnTo>
                  <a:pt x="962" y="1442"/>
                </a:lnTo>
                <a:cubicBezTo>
                  <a:pt x="992" y="1442"/>
                  <a:pt x="1016" y="1466"/>
                  <a:pt x="1016" y="1496"/>
                </a:cubicBezTo>
                <a:lnTo>
                  <a:pt x="1016" y="1525"/>
                </a:lnTo>
                <a:cubicBezTo>
                  <a:pt x="1016" y="1555"/>
                  <a:pt x="992" y="1579"/>
                  <a:pt x="962" y="1579"/>
                </a:cubicBezTo>
                <a:close/>
                <a:moveTo>
                  <a:pt x="413" y="1579"/>
                </a:moveTo>
                <a:lnTo>
                  <a:pt x="383" y="1579"/>
                </a:lnTo>
                <a:cubicBezTo>
                  <a:pt x="353" y="1579"/>
                  <a:pt x="329" y="1555"/>
                  <a:pt x="329" y="1525"/>
                </a:cubicBezTo>
                <a:lnTo>
                  <a:pt x="329" y="1496"/>
                </a:lnTo>
                <a:cubicBezTo>
                  <a:pt x="329" y="1466"/>
                  <a:pt x="353" y="1442"/>
                  <a:pt x="383" y="1442"/>
                </a:cubicBezTo>
                <a:lnTo>
                  <a:pt x="413" y="1442"/>
                </a:lnTo>
                <a:cubicBezTo>
                  <a:pt x="442" y="1442"/>
                  <a:pt x="466" y="1466"/>
                  <a:pt x="466" y="1496"/>
                </a:cubicBezTo>
                <a:lnTo>
                  <a:pt x="466" y="1525"/>
                </a:lnTo>
                <a:cubicBezTo>
                  <a:pt x="466" y="1555"/>
                  <a:pt x="442" y="1579"/>
                  <a:pt x="413" y="1579"/>
                </a:cubicBezTo>
                <a:close/>
                <a:moveTo>
                  <a:pt x="687" y="1579"/>
                </a:moveTo>
                <a:lnTo>
                  <a:pt x="658" y="1579"/>
                </a:lnTo>
                <a:cubicBezTo>
                  <a:pt x="628" y="1579"/>
                  <a:pt x="604" y="1555"/>
                  <a:pt x="604" y="1525"/>
                </a:cubicBezTo>
                <a:lnTo>
                  <a:pt x="604" y="1496"/>
                </a:lnTo>
                <a:cubicBezTo>
                  <a:pt x="604" y="1466"/>
                  <a:pt x="628" y="1442"/>
                  <a:pt x="658" y="1442"/>
                </a:cubicBezTo>
                <a:lnTo>
                  <a:pt x="687" y="1442"/>
                </a:lnTo>
                <a:cubicBezTo>
                  <a:pt x="717" y="1442"/>
                  <a:pt x="741" y="1466"/>
                  <a:pt x="741" y="1496"/>
                </a:cubicBezTo>
                <a:lnTo>
                  <a:pt x="741" y="1525"/>
                </a:lnTo>
                <a:cubicBezTo>
                  <a:pt x="741" y="1555"/>
                  <a:pt x="717" y="1579"/>
                  <a:pt x="687" y="1579"/>
                </a:cubicBezTo>
                <a:close/>
                <a:moveTo>
                  <a:pt x="1511" y="1030"/>
                </a:moveTo>
                <a:lnTo>
                  <a:pt x="1481" y="1030"/>
                </a:lnTo>
                <a:cubicBezTo>
                  <a:pt x="1452" y="1030"/>
                  <a:pt x="1428" y="1006"/>
                  <a:pt x="1428" y="976"/>
                </a:cubicBezTo>
                <a:lnTo>
                  <a:pt x="1428" y="947"/>
                </a:lnTo>
                <a:cubicBezTo>
                  <a:pt x="1428" y="917"/>
                  <a:pt x="1452" y="893"/>
                  <a:pt x="1481" y="893"/>
                </a:cubicBezTo>
                <a:lnTo>
                  <a:pt x="1511" y="893"/>
                </a:lnTo>
                <a:cubicBezTo>
                  <a:pt x="1541" y="893"/>
                  <a:pt x="1565" y="917"/>
                  <a:pt x="1565" y="947"/>
                </a:cubicBezTo>
                <a:lnTo>
                  <a:pt x="1565" y="976"/>
                </a:lnTo>
                <a:cubicBezTo>
                  <a:pt x="1565" y="1006"/>
                  <a:pt x="1541" y="1030"/>
                  <a:pt x="1511" y="1030"/>
                </a:cubicBezTo>
                <a:close/>
                <a:moveTo>
                  <a:pt x="1236" y="1030"/>
                </a:moveTo>
                <a:lnTo>
                  <a:pt x="1207" y="1030"/>
                </a:lnTo>
                <a:cubicBezTo>
                  <a:pt x="1177" y="1030"/>
                  <a:pt x="1153" y="1006"/>
                  <a:pt x="1153" y="976"/>
                </a:cubicBezTo>
                <a:lnTo>
                  <a:pt x="1153" y="947"/>
                </a:lnTo>
                <a:cubicBezTo>
                  <a:pt x="1153" y="917"/>
                  <a:pt x="1177" y="893"/>
                  <a:pt x="1207" y="893"/>
                </a:cubicBezTo>
                <a:lnTo>
                  <a:pt x="1236" y="893"/>
                </a:lnTo>
                <a:cubicBezTo>
                  <a:pt x="1266" y="893"/>
                  <a:pt x="1290" y="917"/>
                  <a:pt x="1290" y="947"/>
                </a:cubicBezTo>
                <a:lnTo>
                  <a:pt x="1290" y="976"/>
                </a:lnTo>
                <a:cubicBezTo>
                  <a:pt x="1290" y="1006"/>
                  <a:pt x="1266" y="1030"/>
                  <a:pt x="1236" y="1030"/>
                </a:cubicBezTo>
                <a:close/>
                <a:moveTo>
                  <a:pt x="962" y="1030"/>
                </a:moveTo>
                <a:lnTo>
                  <a:pt x="932" y="1030"/>
                </a:lnTo>
                <a:cubicBezTo>
                  <a:pt x="903" y="1030"/>
                  <a:pt x="879" y="1006"/>
                  <a:pt x="879" y="976"/>
                </a:cubicBezTo>
                <a:lnTo>
                  <a:pt x="879" y="947"/>
                </a:lnTo>
                <a:cubicBezTo>
                  <a:pt x="879" y="917"/>
                  <a:pt x="903" y="893"/>
                  <a:pt x="932" y="893"/>
                </a:cubicBezTo>
                <a:lnTo>
                  <a:pt x="962" y="893"/>
                </a:lnTo>
                <a:cubicBezTo>
                  <a:pt x="992" y="893"/>
                  <a:pt x="1016" y="917"/>
                  <a:pt x="1016" y="947"/>
                </a:cubicBezTo>
                <a:lnTo>
                  <a:pt x="1016" y="976"/>
                </a:lnTo>
                <a:cubicBezTo>
                  <a:pt x="1016" y="1006"/>
                  <a:pt x="992" y="1030"/>
                  <a:pt x="962" y="1030"/>
                </a:cubicBezTo>
                <a:close/>
                <a:moveTo>
                  <a:pt x="687" y="1030"/>
                </a:moveTo>
                <a:lnTo>
                  <a:pt x="658" y="1030"/>
                </a:lnTo>
                <a:cubicBezTo>
                  <a:pt x="628" y="1030"/>
                  <a:pt x="604" y="1006"/>
                  <a:pt x="604" y="976"/>
                </a:cubicBezTo>
                <a:lnTo>
                  <a:pt x="604" y="947"/>
                </a:lnTo>
                <a:cubicBezTo>
                  <a:pt x="604" y="917"/>
                  <a:pt x="628" y="893"/>
                  <a:pt x="658" y="893"/>
                </a:cubicBezTo>
                <a:lnTo>
                  <a:pt x="687" y="893"/>
                </a:lnTo>
                <a:cubicBezTo>
                  <a:pt x="717" y="893"/>
                  <a:pt x="741" y="917"/>
                  <a:pt x="741" y="947"/>
                </a:cubicBezTo>
                <a:lnTo>
                  <a:pt x="741" y="976"/>
                </a:lnTo>
                <a:cubicBezTo>
                  <a:pt x="741" y="1006"/>
                  <a:pt x="717" y="1030"/>
                  <a:pt x="687" y="1030"/>
                </a:cubicBezTo>
                <a:close/>
                <a:moveTo>
                  <a:pt x="1511" y="1304"/>
                </a:moveTo>
                <a:lnTo>
                  <a:pt x="1481" y="1304"/>
                </a:lnTo>
                <a:cubicBezTo>
                  <a:pt x="1452" y="1304"/>
                  <a:pt x="1428" y="1280"/>
                  <a:pt x="1428" y="1251"/>
                </a:cubicBezTo>
                <a:lnTo>
                  <a:pt x="1428" y="1221"/>
                </a:lnTo>
                <a:cubicBezTo>
                  <a:pt x="1428" y="1192"/>
                  <a:pt x="1452" y="1168"/>
                  <a:pt x="1481" y="1168"/>
                </a:cubicBezTo>
                <a:lnTo>
                  <a:pt x="1511" y="1168"/>
                </a:lnTo>
                <a:cubicBezTo>
                  <a:pt x="1541" y="1168"/>
                  <a:pt x="1565" y="1192"/>
                  <a:pt x="1565" y="1221"/>
                </a:cubicBezTo>
                <a:lnTo>
                  <a:pt x="1565" y="1251"/>
                </a:lnTo>
                <a:cubicBezTo>
                  <a:pt x="1565" y="1280"/>
                  <a:pt x="1541" y="1304"/>
                  <a:pt x="1511" y="1304"/>
                </a:cubicBezTo>
                <a:close/>
                <a:moveTo>
                  <a:pt x="1236" y="1304"/>
                </a:moveTo>
                <a:lnTo>
                  <a:pt x="1207" y="1304"/>
                </a:lnTo>
                <a:cubicBezTo>
                  <a:pt x="1177" y="1304"/>
                  <a:pt x="1153" y="1280"/>
                  <a:pt x="1153" y="1251"/>
                </a:cubicBezTo>
                <a:lnTo>
                  <a:pt x="1153" y="1221"/>
                </a:lnTo>
                <a:cubicBezTo>
                  <a:pt x="1153" y="1192"/>
                  <a:pt x="1177" y="1168"/>
                  <a:pt x="1207" y="1168"/>
                </a:cubicBezTo>
                <a:lnTo>
                  <a:pt x="1236" y="1168"/>
                </a:lnTo>
                <a:cubicBezTo>
                  <a:pt x="1266" y="1168"/>
                  <a:pt x="1290" y="1192"/>
                  <a:pt x="1290" y="1221"/>
                </a:cubicBezTo>
                <a:lnTo>
                  <a:pt x="1290" y="1251"/>
                </a:lnTo>
                <a:cubicBezTo>
                  <a:pt x="1290" y="1280"/>
                  <a:pt x="1266" y="1304"/>
                  <a:pt x="1236" y="1304"/>
                </a:cubicBezTo>
                <a:close/>
                <a:moveTo>
                  <a:pt x="962" y="1304"/>
                </a:moveTo>
                <a:lnTo>
                  <a:pt x="932" y="1304"/>
                </a:lnTo>
                <a:cubicBezTo>
                  <a:pt x="903" y="1304"/>
                  <a:pt x="879" y="1280"/>
                  <a:pt x="879" y="1251"/>
                </a:cubicBezTo>
                <a:lnTo>
                  <a:pt x="879" y="1221"/>
                </a:lnTo>
                <a:cubicBezTo>
                  <a:pt x="879" y="1192"/>
                  <a:pt x="903" y="1168"/>
                  <a:pt x="932" y="1168"/>
                </a:cubicBezTo>
                <a:lnTo>
                  <a:pt x="962" y="1168"/>
                </a:lnTo>
                <a:cubicBezTo>
                  <a:pt x="992" y="1168"/>
                  <a:pt x="1016" y="1192"/>
                  <a:pt x="1016" y="1221"/>
                </a:cubicBezTo>
                <a:lnTo>
                  <a:pt x="1016" y="1251"/>
                </a:lnTo>
                <a:cubicBezTo>
                  <a:pt x="1016" y="1280"/>
                  <a:pt x="992" y="1304"/>
                  <a:pt x="962" y="1304"/>
                </a:cubicBezTo>
                <a:close/>
                <a:moveTo>
                  <a:pt x="413" y="1304"/>
                </a:moveTo>
                <a:lnTo>
                  <a:pt x="383" y="1304"/>
                </a:lnTo>
                <a:cubicBezTo>
                  <a:pt x="353" y="1304"/>
                  <a:pt x="329" y="1280"/>
                  <a:pt x="329" y="1251"/>
                </a:cubicBezTo>
                <a:lnTo>
                  <a:pt x="329" y="1221"/>
                </a:lnTo>
                <a:cubicBezTo>
                  <a:pt x="329" y="1192"/>
                  <a:pt x="353" y="1168"/>
                  <a:pt x="383" y="1168"/>
                </a:cubicBezTo>
                <a:lnTo>
                  <a:pt x="413" y="1168"/>
                </a:lnTo>
                <a:cubicBezTo>
                  <a:pt x="442" y="1168"/>
                  <a:pt x="466" y="1192"/>
                  <a:pt x="466" y="1221"/>
                </a:cubicBezTo>
                <a:lnTo>
                  <a:pt x="466" y="1251"/>
                </a:lnTo>
                <a:cubicBezTo>
                  <a:pt x="466" y="1280"/>
                  <a:pt x="442" y="1304"/>
                  <a:pt x="413" y="1304"/>
                </a:cubicBezTo>
                <a:close/>
                <a:moveTo>
                  <a:pt x="687" y="1304"/>
                </a:moveTo>
                <a:lnTo>
                  <a:pt x="658" y="1304"/>
                </a:lnTo>
                <a:cubicBezTo>
                  <a:pt x="628" y="1304"/>
                  <a:pt x="604" y="1280"/>
                  <a:pt x="604" y="1251"/>
                </a:cubicBezTo>
                <a:lnTo>
                  <a:pt x="604" y="1221"/>
                </a:lnTo>
                <a:cubicBezTo>
                  <a:pt x="604" y="1192"/>
                  <a:pt x="628" y="1168"/>
                  <a:pt x="658" y="1168"/>
                </a:cubicBezTo>
                <a:lnTo>
                  <a:pt x="687" y="1168"/>
                </a:lnTo>
                <a:cubicBezTo>
                  <a:pt x="717" y="1168"/>
                  <a:pt x="741" y="1192"/>
                  <a:pt x="741" y="1221"/>
                </a:cubicBezTo>
                <a:lnTo>
                  <a:pt x="741" y="1251"/>
                </a:lnTo>
                <a:cubicBezTo>
                  <a:pt x="741" y="1280"/>
                  <a:pt x="717" y="1304"/>
                  <a:pt x="687" y="1304"/>
                </a:cubicBezTo>
                <a:close/>
                <a:moveTo>
                  <a:pt x="953" y="0"/>
                </a:moveTo>
                <a:lnTo>
                  <a:pt x="953" y="400"/>
                </a:lnTo>
                <a:lnTo>
                  <a:pt x="845" y="400"/>
                </a:lnTo>
                <a:lnTo>
                  <a:pt x="845" y="238"/>
                </a:lnTo>
                <a:lnTo>
                  <a:pt x="645" y="238"/>
                </a:lnTo>
                <a:lnTo>
                  <a:pt x="645" y="131"/>
                </a:lnTo>
                <a:lnTo>
                  <a:pt x="845" y="131"/>
                </a:lnTo>
                <a:lnTo>
                  <a:pt x="845" y="0"/>
                </a:lnTo>
                <a:lnTo>
                  <a:pt x="953" y="0"/>
                </a:lnTo>
                <a:close/>
                <a:moveTo>
                  <a:pt x="1404" y="0"/>
                </a:moveTo>
                <a:lnTo>
                  <a:pt x="1404" y="400"/>
                </a:lnTo>
                <a:lnTo>
                  <a:pt x="1296" y="400"/>
                </a:lnTo>
                <a:lnTo>
                  <a:pt x="1296" y="238"/>
                </a:lnTo>
                <a:lnTo>
                  <a:pt x="1096" y="238"/>
                </a:lnTo>
                <a:lnTo>
                  <a:pt x="1096" y="131"/>
                </a:lnTo>
                <a:lnTo>
                  <a:pt x="1296" y="131"/>
                </a:lnTo>
                <a:lnTo>
                  <a:pt x="1296" y="0"/>
                </a:lnTo>
                <a:lnTo>
                  <a:pt x="1404" y="0"/>
                </a:lnTo>
                <a:close/>
                <a:moveTo>
                  <a:pt x="107" y="729"/>
                </a:moveTo>
                <a:lnTo>
                  <a:pt x="107" y="1707"/>
                </a:lnTo>
                <a:cubicBezTo>
                  <a:pt x="107" y="1721"/>
                  <a:pt x="113" y="1733"/>
                  <a:pt x="122" y="1742"/>
                </a:cubicBezTo>
                <a:cubicBezTo>
                  <a:pt x="131" y="1751"/>
                  <a:pt x="143" y="1757"/>
                  <a:pt x="157" y="1757"/>
                </a:cubicBezTo>
                <a:lnTo>
                  <a:pt x="1737" y="1757"/>
                </a:lnTo>
                <a:cubicBezTo>
                  <a:pt x="1751" y="1757"/>
                  <a:pt x="1763" y="1751"/>
                  <a:pt x="1772" y="1742"/>
                </a:cubicBezTo>
                <a:lnTo>
                  <a:pt x="1772" y="1742"/>
                </a:lnTo>
                <a:lnTo>
                  <a:pt x="1772" y="1742"/>
                </a:lnTo>
                <a:cubicBezTo>
                  <a:pt x="1781" y="1733"/>
                  <a:pt x="1787" y="1721"/>
                  <a:pt x="1787" y="1707"/>
                </a:cubicBezTo>
                <a:lnTo>
                  <a:pt x="1787" y="729"/>
                </a:lnTo>
                <a:lnTo>
                  <a:pt x="107" y="72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68" name="Прямоугольник 67"/>
          <p:cNvSpPr/>
          <p:nvPr/>
        </p:nvSpPr>
        <p:spPr>
          <a:xfrm>
            <a:off x="521406" y="5306089"/>
            <a:ext cx="507874" cy="509964"/>
          </a:xfrm>
          <a:prstGeom prst="rect">
            <a:avLst/>
          </a:prstGeom>
          <a:solidFill>
            <a:srgbClr val="40A7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69" name="Freeform 6"/>
          <p:cNvSpPr>
            <a:spLocks noEditPoints="1"/>
          </p:cNvSpPr>
          <p:nvPr/>
        </p:nvSpPr>
        <p:spPr bwMode="auto">
          <a:xfrm>
            <a:off x="610449" y="5390489"/>
            <a:ext cx="338950" cy="334766"/>
          </a:xfrm>
          <a:custGeom>
            <a:avLst/>
            <a:gdLst>
              <a:gd name="T0" fmla="*/ 1848 w 1894"/>
              <a:gd name="T1" fmla="*/ 177 h 1864"/>
              <a:gd name="T2" fmla="*/ 1848 w 1894"/>
              <a:gd name="T3" fmla="*/ 1818 h 1864"/>
              <a:gd name="T4" fmla="*/ 157 w 1894"/>
              <a:gd name="T5" fmla="*/ 1864 h 1864"/>
              <a:gd name="T6" fmla="*/ 0 w 1894"/>
              <a:gd name="T7" fmla="*/ 288 h 1864"/>
              <a:gd name="T8" fmla="*/ 46 w 1894"/>
              <a:gd name="T9" fmla="*/ 177 h 1864"/>
              <a:gd name="T10" fmla="*/ 394 w 1894"/>
              <a:gd name="T11" fmla="*/ 0 h 1864"/>
              <a:gd name="T12" fmla="*/ 394 w 1894"/>
              <a:gd name="T13" fmla="*/ 400 h 1864"/>
              <a:gd name="T14" fmla="*/ 122 w 1894"/>
              <a:gd name="T15" fmla="*/ 253 h 1864"/>
              <a:gd name="T16" fmla="*/ 107 w 1894"/>
              <a:gd name="T17" fmla="*/ 621 h 1864"/>
              <a:gd name="T18" fmla="*/ 1772 w 1894"/>
              <a:gd name="T19" fmla="*/ 253 h 1864"/>
              <a:gd name="T20" fmla="*/ 1547 w 1894"/>
              <a:gd name="T21" fmla="*/ 131 h 1864"/>
              <a:gd name="T22" fmla="*/ 1153 w 1894"/>
              <a:gd name="T23" fmla="*/ 1525 h 1864"/>
              <a:gd name="T24" fmla="*/ 1236 w 1894"/>
              <a:gd name="T25" fmla="*/ 1442 h 1864"/>
              <a:gd name="T26" fmla="*/ 1236 w 1894"/>
              <a:gd name="T27" fmla="*/ 1579 h 1864"/>
              <a:gd name="T28" fmla="*/ 879 w 1894"/>
              <a:gd name="T29" fmla="*/ 1525 h 1864"/>
              <a:gd name="T30" fmla="*/ 962 w 1894"/>
              <a:gd name="T31" fmla="*/ 1442 h 1864"/>
              <a:gd name="T32" fmla="*/ 962 w 1894"/>
              <a:gd name="T33" fmla="*/ 1579 h 1864"/>
              <a:gd name="T34" fmla="*/ 329 w 1894"/>
              <a:gd name="T35" fmla="*/ 1525 h 1864"/>
              <a:gd name="T36" fmla="*/ 413 w 1894"/>
              <a:gd name="T37" fmla="*/ 1442 h 1864"/>
              <a:gd name="T38" fmla="*/ 413 w 1894"/>
              <a:gd name="T39" fmla="*/ 1579 h 1864"/>
              <a:gd name="T40" fmla="*/ 604 w 1894"/>
              <a:gd name="T41" fmla="*/ 1525 h 1864"/>
              <a:gd name="T42" fmla="*/ 687 w 1894"/>
              <a:gd name="T43" fmla="*/ 1442 h 1864"/>
              <a:gd name="T44" fmla="*/ 687 w 1894"/>
              <a:gd name="T45" fmla="*/ 1579 h 1864"/>
              <a:gd name="T46" fmla="*/ 1428 w 1894"/>
              <a:gd name="T47" fmla="*/ 976 h 1864"/>
              <a:gd name="T48" fmla="*/ 1511 w 1894"/>
              <a:gd name="T49" fmla="*/ 893 h 1864"/>
              <a:gd name="T50" fmla="*/ 1511 w 1894"/>
              <a:gd name="T51" fmla="*/ 1030 h 1864"/>
              <a:gd name="T52" fmla="*/ 1153 w 1894"/>
              <a:gd name="T53" fmla="*/ 976 h 1864"/>
              <a:gd name="T54" fmla="*/ 1236 w 1894"/>
              <a:gd name="T55" fmla="*/ 893 h 1864"/>
              <a:gd name="T56" fmla="*/ 1236 w 1894"/>
              <a:gd name="T57" fmla="*/ 1030 h 1864"/>
              <a:gd name="T58" fmla="*/ 879 w 1894"/>
              <a:gd name="T59" fmla="*/ 976 h 1864"/>
              <a:gd name="T60" fmla="*/ 962 w 1894"/>
              <a:gd name="T61" fmla="*/ 893 h 1864"/>
              <a:gd name="T62" fmla="*/ 962 w 1894"/>
              <a:gd name="T63" fmla="*/ 1030 h 1864"/>
              <a:gd name="T64" fmla="*/ 604 w 1894"/>
              <a:gd name="T65" fmla="*/ 976 h 1864"/>
              <a:gd name="T66" fmla="*/ 687 w 1894"/>
              <a:gd name="T67" fmla="*/ 893 h 1864"/>
              <a:gd name="T68" fmla="*/ 687 w 1894"/>
              <a:gd name="T69" fmla="*/ 1030 h 1864"/>
              <a:gd name="T70" fmla="*/ 1428 w 1894"/>
              <a:gd name="T71" fmla="*/ 1251 h 1864"/>
              <a:gd name="T72" fmla="*/ 1511 w 1894"/>
              <a:gd name="T73" fmla="*/ 1168 h 1864"/>
              <a:gd name="T74" fmla="*/ 1511 w 1894"/>
              <a:gd name="T75" fmla="*/ 1304 h 1864"/>
              <a:gd name="T76" fmla="*/ 1153 w 1894"/>
              <a:gd name="T77" fmla="*/ 1251 h 1864"/>
              <a:gd name="T78" fmla="*/ 1236 w 1894"/>
              <a:gd name="T79" fmla="*/ 1168 h 1864"/>
              <a:gd name="T80" fmla="*/ 1236 w 1894"/>
              <a:gd name="T81" fmla="*/ 1304 h 1864"/>
              <a:gd name="T82" fmla="*/ 879 w 1894"/>
              <a:gd name="T83" fmla="*/ 1251 h 1864"/>
              <a:gd name="T84" fmla="*/ 962 w 1894"/>
              <a:gd name="T85" fmla="*/ 1168 h 1864"/>
              <a:gd name="T86" fmla="*/ 962 w 1894"/>
              <a:gd name="T87" fmla="*/ 1304 h 1864"/>
              <a:gd name="T88" fmla="*/ 329 w 1894"/>
              <a:gd name="T89" fmla="*/ 1251 h 1864"/>
              <a:gd name="T90" fmla="*/ 413 w 1894"/>
              <a:gd name="T91" fmla="*/ 1168 h 1864"/>
              <a:gd name="T92" fmla="*/ 413 w 1894"/>
              <a:gd name="T93" fmla="*/ 1304 h 1864"/>
              <a:gd name="T94" fmla="*/ 604 w 1894"/>
              <a:gd name="T95" fmla="*/ 1251 h 1864"/>
              <a:gd name="T96" fmla="*/ 687 w 1894"/>
              <a:gd name="T97" fmla="*/ 1168 h 1864"/>
              <a:gd name="T98" fmla="*/ 687 w 1894"/>
              <a:gd name="T99" fmla="*/ 1304 h 1864"/>
              <a:gd name="T100" fmla="*/ 845 w 1894"/>
              <a:gd name="T101" fmla="*/ 400 h 1864"/>
              <a:gd name="T102" fmla="*/ 645 w 1894"/>
              <a:gd name="T103" fmla="*/ 131 h 1864"/>
              <a:gd name="T104" fmla="*/ 953 w 1894"/>
              <a:gd name="T105" fmla="*/ 0 h 1864"/>
              <a:gd name="T106" fmla="*/ 1296 w 1894"/>
              <a:gd name="T107" fmla="*/ 400 h 1864"/>
              <a:gd name="T108" fmla="*/ 1096 w 1894"/>
              <a:gd name="T109" fmla="*/ 131 h 1864"/>
              <a:gd name="T110" fmla="*/ 1404 w 1894"/>
              <a:gd name="T111" fmla="*/ 0 h 1864"/>
              <a:gd name="T112" fmla="*/ 122 w 1894"/>
              <a:gd name="T113" fmla="*/ 1742 h 1864"/>
              <a:gd name="T114" fmla="*/ 1772 w 1894"/>
              <a:gd name="T115" fmla="*/ 1742 h 1864"/>
              <a:gd name="T116" fmla="*/ 1787 w 1894"/>
              <a:gd name="T117" fmla="*/ 1707 h 18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894" h="1864">
                <a:moveTo>
                  <a:pt x="1547" y="131"/>
                </a:moveTo>
                <a:lnTo>
                  <a:pt x="1737" y="131"/>
                </a:lnTo>
                <a:cubicBezTo>
                  <a:pt x="1780" y="131"/>
                  <a:pt x="1820" y="149"/>
                  <a:pt x="1848" y="177"/>
                </a:cubicBezTo>
                <a:cubicBezTo>
                  <a:pt x="1876" y="206"/>
                  <a:pt x="1894" y="245"/>
                  <a:pt x="1894" y="288"/>
                </a:cubicBezTo>
                <a:lnTo>
                  <a:pt x="1894" y="1707"/>
                </a:lnTo>
                <a:cubicBezTo>
                  <a:pt x="1894" y="1750"/>
                  <a:pt x="1876" y="1789"/>
                  <a:pt x="1848" y="1818"/>
                </a:cubicBezTo>
                <a:lnTo>
                  <a:pt x="1848" y="1818"/>
                </a:lnTo>
                <a:cubicBezTo>
                  <a:pt x="1820" y="1846"/>
                  <a:pt x="1780" y="1864"/>
                  <a:pt x="1737" y="1864"/>
                </a:cubicBezTo>
                <a:lnTo>
                  <a:pt x="157" y="1864"/>
                </a:lnTo>
                <a:cubicBezTo>
                  <a:pt x="114" y="1864"/>
                  <a:pt x="74" y="1846"/>
                  <a:pt x="46" y="1818"/>
                </a:cubicBezTo>
                <a:cubicBezTo>
                  <a:pt x="18" y="1789"/>
                  <a:pt x="0" y="1750"/>
                  <a:pt x="0" y="1707"/>
                </a:cubicBezTo>
                <a:lnTo>
                  <a:pt x="0" y="288"/>
                </a:lnTo>
                <a:cubicBezTo>
                  <a:pt x="0" y="245"/>
                  <a:pt x="18" y="206"/>
                  <a:pt x="46" y="177"/>
                </a:cubicBezTo>
                <a:lnTo>
                  <a:pt x="46" y="177"/>
                </a:lnTo>
                <a:lnTo>
                  <a:pt x="46" y="177"/>
                </a:lnTo>
                <a:cubicBezTo>
                  <a:pt x="74" y="149"/>
                  <a:pt x="114" y="131"/>
                  <a:pt x="157" y="131"/>
                </a:cubicBezTo>
                <a:lnTo>
                  <a:pt x="394" y="131"/>
                </a:lnTo>
                <a:lnTo>
                  <a:pt x="394" y="0"/>
                </a:lnTo>
                <a:lnTo>
                  <a:pt x="501" y="0"/>
                </a:lnTo>
                <a:lnTo>
                  <a:pt x="501" y="400"/>
                </a:lnTo>
                <a:lnTo>
                  <a:pt x="394" y="400"/>
                </a:lnTo>
                <a:lnTo>
                  <a:pt x="394" y="238"/>
                </a:lnTo>
                <a:lnTo>
                  <a:pt x="157" y="238"/>
                </a:lnTo>
                <a:cubicBezTo>
                  <a:pt x="143" y="238"/>
                  <a:pt x="131" y="244"/>
                  <a:pt x="122" y="253"/>
                </a:cubicBezTo>
                <a:lnTo>
                  <a:pt x="122" y="253"/>
                </a:lnTo>
                <a:cubicBezTo>
                  <a:pt x="113" y="262"/>
                  <a:pt x="107" y="274"/>
                  <a:pt x="107" y="288"/>
                </a:cubicBezTo>
                <a:lnTo>
                  <a:pt x="107" y="621"/>
                </a:lnTo>
                <a:lnTo>
                  <a:pt x="1787" y="621"/>
                </a:lnTo>
                <a:lnTo>
                  <a:pt x="1787" y="288"/>
                </a:lnTo>
                <a:cubicBezTo>
                  <a:pt x="1787" y="274"/>
                  <a:pt x="1781" y="262"/>
                  <a:pt x="1772" y="253"/>
                </a:cubicBezTo>
                <a:cubicBezTo>
                  <a:pt x="1763" y="244"/>
                  <a:pt x="1751" y="238"/>
                  <a:pt x="1737" y="238"/>
                </a:cubicBezTo>
                <a:lnTo>
                  <a:pt x="1547" y="238"/>
                </a:lnTo>
                <a:lnTo>
                  <a:pt x="1547" y="131"/>
                </a:lnTo>
                <a:close/>
                <a:moveTo>
                  <a:pt x="1236" y="1579"/>
                </a:moveTo>
                <a:lnTo>
                  <a:pt x="1207" y="1579"/>
                </a:lnTo>
                <a:cubicBezTo>
                  <a:pt x="1177" y="1579"/>
                  <a:pt x="1153" y="1555"/>
                  <a:pt x="1153" y="1525"/>
                </a:cubicBezTo>
                <a:lnTo>
                  <a:pt x="1153" y="1496"/>
                </a:lnTo>
                <a:cubicBezTo>
                  <a:pt x="1153" y="1466"/>
                  <a:pt x="1177" y="1442"/>
                  <a:pt x="1207" y="1442"/>
                </a:cubicBezTo>
                <a:lnTo>
                  <a:pt x="1236" y="1442"/>
                </a:lnTo>
                <a:cubicBezTo>
                  <a:pt x="1266" y="1442"/>
                  <a:pt x="1290" y="1466"/>
                  <a:pt x="1290" y="1496"/>
                </a:cubicBezTo>
                <a:lnTo>
                  <a:pt x="1290" y="1525"/>
                </a:lnTo>
                <a:cubicBezTo>
                  <a:pt x="1290" y="1555"/>
                  <a:pt x="1266" y="1579"/>
                  <a:pt x="1236" y="1579"/>
                </a:cubicBezTo>
                <a:close/>
                <a:moveTo>
                  <a:pt x="962" y="1579"/>
                </a:moveTo>
                <a:lnTo>
                  <a:pt x="932" y="1579"/>
                </a:lnTo>
                <a:cubicBezTo>
                  <a:pt x="903" y="1579"/>
                  <a:pt x="879" y="1555"/>
                  <a:pt x="879" y="1525"/>
                </a:cubicBezTo>
                <a:lnTo>
                  <a:pt x="879" y="1496"/>
                </a:lnTo>
                <a:cubicBezTo>
                  <a:pt x="879" y="1466"/>
                  <a:pt x="903" y="1442"/>
                  <a:pt x="932" y="1442"/>
                </a:cubicBezTo>
                <a:lnTo>
                  <a:pt x="962" y="1442"/>
                </a:lnTo>
                <a:cubicBezTo>
                  <a:pt x="992" y="1442"/>
                  <a:pt x="1016" y="1466"/>
                  <a:pt x="1016" y="1496"/>
                </a:cubicBezTo>
                <a:lnTo>
                  <a:pt x="1016" y="1525"/>
                </a:lnTo>
                <a:cubicBezTo>
                  <a:pt x="1016" y="1555"/>
                  <a:pt x="992" y="1579"/>
                  <a:pt x="962" y="1579"/>
                </a:cubicBezTo>
                <a:close/>
                <a:moveTo>
                  <a:pt x="413" y="1579"/>
                </a:moveTo>
                <a:lnTo>
                  <a:pt x="383" y="1579"/>
                </a:lnTo>
                <a:cubicBezTo>
                  <a:pt x="353" y="1579"/>
                  <a:pt x="329" y="1555"/>
                  <a:pt x="329" y="1525"/>
                </a:cubicBezTo>
                <a:lnTo>
                  <a:pt x="329" y="1496"/>
                </a:lnTo>
                <a:cubicBezTo>
                  <a:pt x="329" y="1466"/>
                  <a:pt x="353" y="1442"/>
                  <a:pt x="383" y="1442"/>
                </a:cubicBezTo>
                <a:lnTo>
                  <a:pt x="413" y="1442"/>
                </a:lnTo>
                <a:cubicBezTo>
                  <a:pt x="442" y="1442"/>
                  <a:pt x="466" y="1466"/>
                  <a:pt x="466" y="1496"/>
                </a:cubicBezTo>
                <a:lnTo>
                  <a:pt x="466" y="1525"/>
                </a:lnTo>
                <a:cubicBezTo>
                  <a:pt x="466" y="1555"/>
                  <a:pt x="442" y="1579"/>
                  <a:pt x="413" y="1579"/>
                </a:cubicBezTo>
                <a:close/>
                <a:moveTo>
                  <a:pt x="687" y="1579"/>
                </a:moveTo>
                <a:lnTo>
                  <a:pt x="658" y="1579"/>
                </a:lnTo>
                <a:cubicBezTo>
                  <a:pt x="628" y="1579"/>
                  <a:pt x="604" y="1555"/>
                  <a:pt x="604" y="1525"/>
                </a:cubicBezTo>
                <a:lnTo>
                  <a:pt x="604" y="1496"/>
                </a:lnTo>
                <a:cubicBezTo>
                  <a:pt x="604" y="1466"/>
                  <a:pt x="628" y="1442"/>
                  <a:pt x="658" y="1442"/>
                </a:cubicBezTo>
                <a:lnTo>
                  <a:pt x="687" y="1442"/>
                </a:lnTo>
                <a:cubicBezTo>
                  <a:pt x="717" y="1442"/>
                  <a:pt x="741" y="1466"/>
                  <a:pt x="741" y="1496"/>
                </a:cubicBezTo>
                <a:lnTo>
                  <a:pt x="741" y="1525"/>
                </a:lnTo>
                <a:cubicBezTo>
                  <a:pt x="741" y="1555"/>
                  <a:pt x="717" y="1579"/>
                  <a:pt x="687" y="1579"/>
                </a:cubicBezTo>
                <a:close/>
                <a:moveTo>
                  <a:pt x="1511" y="1030"/>
                </a:moveTo>
                <a:lnTo>
                  <a:pt x="1481" y="1030"/>
                </a:lnTo>
                <a:cubicBezTo>
                  <a:pt x="1452" y="1030"/>
                  <a:pt x="1428" y="1006"/>
                  <a:pt x="1428" y="976"/>
                </a:cubicBezTo>
                <a:lnTo>
                  <a:pt x="1428" y="947"/>
                </a:lnTo>
                <a:cubicBezTo>
                  <a:pt x="1428" y="917"/>
                  <a:pt x="1452" y="893"/>
                  <a:pt x="1481" y="893"/>
                </a:cubicBezTo>
                <a:lnTo>
                  <a:pt x="1511" y="893"/>
                </a:lnTo>
                <a:cubicBezTo>
                  <a:pt x="1541" y="893"/>
                  <a:pt x="1565" y="917"/>
                  <a:pt x="1565" y="947"/>
                </a:cubicBezTo>
                <a:lnTo>
                  <a:pt x="1565" y="976"/>
                </a:lnTo>
                <a:cubicBezTo>
                  <a:pt x="1565" y="1006"/>
                  <a:pt x="1541" y="1030"/>
                  <a:pt x="1511" y="1030"/>
                </a:cubicBezTo>
                <a:close/>
                <a:moveTo>
                  <a:pt x="1236" y="1030"/>
                </a:moveTo>
                <a:lnTo>
                  <a:pt x="1207" y="1030"/>
                </a:lnTo>
                <a:cubicBezTo>
                  <a:pt x="1177" y="1030"/>
                  <a:pt x="1153" y="1006"/>
                  <a:pt x="1153" y="976"/>
                </a:cubicBezTo>
                <a:lnTo>
                  <a:pt x="1153" y="947"/>
                </a:lnTo>
                <a:cubicBezTo>
                  <a:pt x="1153" y="917"/>
                  <a:pt x="1177" y="893"/>
                  <a:pt x="1207" y="893"/>
                </a:cubicBezTo>
                <a:lnTo>
                  <a:pt x="1236" y="893"/>
                </a:lnTo>
                <a:cubicBezTo>
                  <a:pt x="1266" y="893"/>
                  <a:pt x="1290" y="917"/>
                  <a:pt x="1290" y="947"/>
                </a:cubicBezTo>
                <a:lnTo>
                  <a:pt x="1290" y="976"/>
                </a:lnTo>
                <a:cubicBezTo>
                  <a:pt x="1290" y="1006"/>
                  <a:pt x="1266" y="1030"/>
                  <a:pt x="1236" y="1030"/>
                </a:cubicBezTo>
                <a:close/>
                <a:moveTo>
                  <a:pt x="962" y="1030"/>
                </a:moveTo>
                <a:lnTo>
                  <a:pt x="932" y="1030"/>
                </a:lnTo>
                <a:cubicBezTo>
                  <a:pt x="903" y="1030"/>
                  <a:pt x="879" y="1006"/>
                  <a:pt x="879" y="976"/>
                </a:cubicBezTo>
                <a:lnTo>
                  <a:pt x="879" y="947"/>
                </a:lnTo>
                <a:cubicBezTo>
                  <a:pt x="879" y="917"/>
                  <a:pt x="903" y="893"/>
                  <a:pt x="932" y="893"/>
                </a:cubicBezTo>
                <a:lnTo>
                  <a:pt x="962" y="893"/>
                </a:lnTo>
                <a:cubicBezTo>
                  <a:pt x="992" y="893"/>
                  <a:pt x="1016" y="917"/>
                  <a:pt x="1016" y="947"/>
                </a:cubicBezTo>
                <a:lnTo>
                  <a:pt x="1016" y="976"/>
                </a:lnTo>
                <a:cubicBezTo>
                  <a:pt x="1016" y="1006"/>
                  <a:pt x="992" y="1030"/>
                  <a:pt x="962" y="1030"/>
                </a:cubicBezTo>
                <a:close/>
                <a:moveTo>
                  <a:pt x="687" y="1030"/>
                </a:moveTo>
                <a:lnTo>
                  <a:pt x="658" y="1030"/>
                </a:lnTo>
                <a:cubicBezTo>
                  <a:pt x="628" y="1030"/>
                  <a:pt x="604" y="1006"/>
                  <a:pt x="604" y="976"/>
                </a:cubicBezTo>
                <a:lnTo>
                  <a:pt x="604" y="947"/>
                </a:lnTo>
                <a:cubicBezTo>
                  <a:pt x="604" y="917"/>
                  <a:pt x="628" y="893"/>
                  <a:pt x="658" y="893"/>
                </a:cubicBezTo>
                <a:lnTo>
                  <a:pt x="687" y="893"/>
                </a:lnTo>
                <a:cubicBezTo>
                  <a:pt x="717" y="893"/>
                  <a:pt x="741" y="917"/>
                  <a:pt x="741" y="947"/>
                </a:cubicBezTo>
                <a:lnTo>
                  <a:pt x="741" y="976"/>
                </a:lnTo>
                <a:cubicBezTo>
                  <a:pt x="741" y="1006"/>
                  <a:pt x="717" y="1030"/>
                  <a:pt x="687" y="1030"/>
                </a:cubicBezTo>
                <a:close/>
                <a:moveTo>
                  <a:pt x="1511" y="1304"/>
                </a:moveTo>
                <a:lnTo>
                  <a:pt x="1481" y="1304"/>
                </a:lnTo>
                <a:cubicBezTo>
                  <a:pt x="1452" y="1304"/>
                  <a:pt x="1428" y="1280"/>
                  <a:pt x="1428" y="1251"/>
                </a:cubicBezTo>
                <a:lnTo>
                  <a:pt x="1428" y="1221"/>
                </a:lnTo>
                <a:cubicBezTo>
                  <a:pt x="1428" y="1192"/>
                  <a:pt x="1452" y="1168"/>
                  <a:pt x="1481" y="1168"/>
                </a:cubicBezTo>
                <a:lnTo>
                  <a:pt x="1511" y="1168"/>
                </a:lnTo>
                <a:cubicBezTo>
                  <a:pt x="1541" y="1168"/>
                  <a:pt x="1565" y="1192"/>
                  <a:pt x="1565" y="1221"/>
                </a:cubicBezTo>
                <a:lnTo>
                  <a:pt x="1565" y="1251"/>
                </a:lnTo>
                <a:cubicBezTo>
                  <a:pt x="1565" y="1280"/>
                  <a:pt x="1541" y="1304"/>
                  <a:pt x="1511" y="1304"/>
                </a:cubicBezTo>
                <a:close/>
                <a:moveTo>
                  <a:pt x="1236" y="1304"/>
                </a:moveTo>
                <a:lnTo>
                  <a:pt x="1207" y="1304"/>
                </a:lnTo>
                <a:cubicBezTo>
                  <a:pt x="1177" y="1304"/>
                  <a:pt x="1153" y="1280"/>
                  <a:pt x="1153" y="1251"/>
                </a:cubicBezTo>
                <a:lnTo>
                  <a:pt x="1153" y="1221"/>
                </a:lnTo>
                <a:cubicBezTo>
                  <a:pt x="1153" y="1192"/>
                  <a:pt x="1177" y="1168"/>
                  <a:pt x="1207" y="1168"/>
                </a:cubicBezTo>
                <a:lnTo>
                  <a:pt x="1236" y="1168"/>
                </a:lnTo>
                <a:cubicBezTo>
                  <a:pt x="1266" y="1168"/>
                  <a:pt x="1290" y="1192"/>
                  <a:pt x="1290" y="1221"/>
                </a:cubicBezTo>
                <a:lnTo>
                  <a:pt x="1290" y="1251"/>
                </a:lnTo>
                <a:cubicBezTo>
                  <a:pt x="1290" y="1280"/>
                  <a:pt x="1266" y="1304"/>
                  <a:pt x="1236" y="1304"/>
                </a:cubicBezTo>
                <a:close/>
                <a:moveTo>
                  <a:pt x="962" y="1304"/>
                </a:moveTo>
                <a:lnTo>
                  <a:pt x="932" y="1304"/>
                </a:lnTo>
                <a:cubicBezTo>
                  <a:pt x="903" y="1304"/>
                  <a:pt x="879" y="1280"/>
                  <a:pt x="879" y="1251"/>
                </a:cubicBezTo>
                <a:lnTo>
                  <a:pt x="879" y="1221"/>
                </a:lnTo>
                <a:cubicBezTo>
                  <a:pt x="879" y="1192"/>
                  <a:pt x="903" y="1168"/>
                  <a:pt x="932" y="1168"/>
                </a:cubicBezTo>
                <a:lnTo>
                  <a:pt x="962" y="1168"/>
                </a:lnTo>
                <a:cubicBezTo>
                  <a:pt x="992" y="1168"/>
                  <a:pt x="1016" y="1192"/>
                  <a:pt x="1016" y="1221"/>
                </a:cubicBezTo>
                <a:lnTo>
                  <a:pt x="1016" y="1251"/>
                </a:lnTo>
                <a:cubicBezTo>
                  <a:pt x="1016" y="1280"/>
                  <a:pt x="992" y="1304"/>
                  <a:pt x="962" y="1304"/>
                </a:cubicBezTo>
                <a:close/>
                <a:moveTo>
                  <a:pt x="413" y="1304"/>
                </a:moveTo>
                <a:lnTo>
                  <a:pt x="383" y="1304"/>
                </a:lnTo>
                <a:cubicBezTo>
                  <a:pt x="353" y="1304"/>
                  <a:pt x="329" y="1280"/>
                  <a:pt x="329" y="1251"/>
                </a:cubicBezTo>
                <a:lnTo>
                  <a:pt x="329" y="1221"/>
                </a:lnTo>
                <a:cubicBezTo>
                  <a:pt x="329" y="1192"/>
                  <a:pt x="353" y="1168"/>
                  <a:pt x="383" y="1168"/>
                </a:cubicBezTo>
                <a:lnTo>
                  <a:pt x="413" y="1168"/>
                </a:lnTo>
                <a:cubicBezTo>
                  <a:pt x="442" y="1168"/>
                  <a:pt x="466" y="1192"/>
                  <a:pt x="466" y="1221"/>
                </a:cubicBezTo>
                <a:lnTo>
                  <a:pt x="466" y="1251"/>
                </a:lnTo>
                <a:cubicBezTo>
                  <a:pt x="466" y="1280"/>
                  <a:pt x="442" y="1304"/>
                  <a:pt x="413" y="1304"/>
                </a:cubicBezTo>
                <a:close/>
                <a:moveTo>
                  <a:pt x="687" y="1304"/>
                </a:moveTo>
                <a:lnTo>
                  <a:pt x="658" y="1304"/>
                </a:lnTo>
                <a:cubicBezTo>
                  <a:pt x="628" y="1304"/>
                  <a:pt x="604" y="1280"/>
                  <a:pt x="604" y="1251"/>
                </a:cubicBezTo>
                <a:lnTo>
                  <a:pt x="604" y="1221"/>
                </a:lnTo>
                <a:cubicBezTo>
                  <a:pt x="604" y="1192"/>
                  <a:pt x="628" y="1168"/>
                  <a:pt x="658" y="1168"/>
                </a:cubicBezTo>
                <a:lnTo>
                  <a:pt x="687" y="1168"/>
                </a:lnTo>
                <a:cubicBezTo>
                  <a:pt x="717" y="1168"/>
                  <a:pt x="741" y="1192"/>
                  <a:pt x="741" y="1221"/>
                </a:cubicBezTo>
                <a:lnTo>
                  <a:pt x="741" y="1251"/>
                </a:lnTo>
                <a:cubicBezTo>
                  <a:pt x="741" y="1280"/>
                  <a:pt x="717" y="1304"/>
                  <a:pt x="687" y="1304"/>
                </a:cubicBezTo>
                <a:close/>
                <a:moveTo>
                  <a:pt x="953" y="0"/>
                </a:moveTo>
                <a:lnTo>
                  <a:pt x="953" y="400"/>
                </a:lnTo>
                <a:lnTo>
                  <a:pt x="845" y="400"/>
                </a:lnTo>
                <a:lnTo>
                  <a:pt x="845" y="238"/>
                </a:lnTo>
                <a:lnTo>
                  <a:pt x="645" y="238"/>
                </a:lnTo>
                <a:lnTo>
                  <a:pt x="645" y="131"/>
                </a:lnTo>
                <a:lnTo>
                  <a:pt x="845" y="131"/>
                </a:lnTo>
                <a:lnTo>
                  <a:pt x="845" y="0"/>
                </a:lnTo>
                <a:lnTo>
                  <a:pt x="953" y="0"/>
                </a:lnTo>
                <a:close/>
                <a:moveTo>
                  <a:pt x="1404" y="0"/>
                </a:moveTo>
                <a:lnTo>
                  <a:pt x="1404" y="400"/>
                </a:lnTo>
                <a:lnTo>
                  <a:pt x="1296" y="400"/>
                </a:lnTo>
                <a:lnTo>
                  <a:pt x="1296" y="238"/>
                </a:lnTo>
                <a:lnTo>
                  <a:pt x="1096" y="238"/>
                </a:lnTo>
                <a:lnTo>
                  <a:pt x="1096" y="131"/>
                </a:lnTo>
                <a:lnTo>
                  <a:pt x="1296" y="131"/>
                </a:lnTo>
                <a:lnTo>
                  <a:pt x="1296" y="0"/>
                </a:lnTo>
                <a:lnTo>
                  <a:pt x="1404" y="0"/>
                </a:lnTo>
                <a:close/>
                <a:moveTo>
                  <a:pt x="107" y="729"/>
                </a:moveTo>
                <a:lnTo>
                  <a:pt x="107" y="1707"/>
                </a:lnTo>
                <a:cubicBezTo>
                  <a:pt x="107" y="1721"/>
                  <a:pt x="113" y="1733"/>
                  <a:pt x="122" y="1742"/>
                </a:cubicBezTo>
                <a:cubicBezTo>
                  <a:pt x="131" y="1751"/>
                  <a:pt x="143" y="1757"/>
                  <a:pt x="157" y="1757"/>
                </a:cubicBezTo>
                <a:lnTo>
                  <a:pt x="1737" y="1757"/>
                </a:lnTo>
                <a:cubicBezTo>
                  <a:pt x="1751" y="1757"/>
                  <a:pt x="1763" y="1751"/>
                  <a:pt x="1772" y="1742"/>
                </a:cubicBezTo>
                <a:lnTo>
                  <a:pt x="1772" y="1742"/>
                </a:lnTo>
                <a:lnTo>
                  <a:pt x="1772" y="1742"/>
                </a:lnTo>
                <a:cubicBezTo>
                  <a:pt x="1781" y="1733"/>
                  <a:pt x="1787" y="1721"/>
                  <a:pt x="1787" y="1707"/>
                </a:cubicBezTo>
                <a:lnTo>
                  <a:pt x="1787" y="729"/>
                </a:lnTo>
                <a:lnTo>
                  <a:pt x="107" y="72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263611" y="2654307"/>
            <a:ext cx="6992865" cy="3581735"/>
          </a:xfrm>
          <a:prstGeom prst="rect">
            <a:avLst/>
          </a:prstGeom>
          <a:noFill/>
          <a:ln>
            <a:solidFill>
              <a:srgbClr val="40A7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0" name="Прямоугольник 69"/>
          <p:cNvSpPr/>
          <p:nvPr/>
        </p:nvSpPr>
        <p:spPr>
          <a:xfrm>
            <a:off x="7524925" y="2654307"/>
            <a:ext cx="4377780" cy="3581735"/>
          </a:xfrm>
          <a:prstGeom prst="rect">
            <a:avLst/>
          </a:prstGeom>
          <a:noFill/>
          <a:ln>
            <a:solidFill>
              <a:srgbClr val="40A7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7401" y="3126366"/>
            <a:ext cx="1459079" cy="826225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1009" y="4259481"/>
            <a:ext cx="1362459" cy="624841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1409" y="4110687"/>
            <a:ext cx="855071" cy="773635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24004" y="5027127"/>
            <a:ext cx="1297643" cy="788927"/>
          </a:xfrm>
          <a:prstGeom prst="rect">
            <a:avLst/>
          </a:prstGeom>
        </p:spPr>
      </p:pic>
      <p:sp>
        <p:nvSpPr>
          <p:cNvPr id="71" name="Нашивка 70"/>
          <p:cNvSpPr/>
          <p:nvPr/>
        </p:nvSpPr>
        <p:spPr>
          <a:xfrm rot="5400000">
            <a:off x="2866997" y="2364677"/>
            <a:ext cx="194853" cy="327170"/>
          </a:xfrm>
          <a:prstGeom prst="chevron">
            <a:avLst/>
          </a:prstGeom>
          <a:solidFill>
            <a:srgbClr val="40A7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cxnSp>
        <p:nvCxnSpPr>
          <p:cNvPr id="72" name="Прямая соединительная линия 71"/>
          <p:cNvCxnSpPr/>
          <p:nvPr/>
        </p:nvCxnSpPr>
        <p:spPr>
          <a:xfrm flipV="1">
            <a:off x="2965740" y="2260693"/>
            <a:ext cx="0" cy="326270"/>
          </a:xfrm>
          <a:prstGeom prst="line">
            <a:avLst/>
          </a:prstGeom>
          <a:ln w="28575">
            <a:solidFill>
              <a:srgbClr val="40A7E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Прямая соединительная линия 72"/>
          <p:cNvCxnSpPr/>
          <p:nvPr/>
        </p:nvCxnSpPr>
        <p:spPr>
          <a:xfrm>
            <a:off x="2954731" y="2260693"/>
            <a:ext cx="1427799" cy="0"/>
          </a:xfrm>
          <a:prstGeom prst="line">
            <a:avLst/>
          </a:prstGeom>
          <a:ln w="28575">
            <a:solidFill>
              <a:srgbClr val="40A7E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Нашивка 73"/>
          <p:cNvSpPr/>
          <p:nvPr/>
        </p:nvSpPr>
        <p:spPr>
          <a:xfrm rot="5400000">
            <a:off x="9103189" y="2364677"/>
            <a:ext cx="194853" cy="327170"/>
          </a:xfrm>
          <a:prstGeom prst="chevron">
            <a:avLst/>
          </a:prstGeom>
          <a:solidFill>
            <a:srgbClr val="40A7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cxnSp>
        <p:nvCxnSpPr>
          <p:cNvPr id="75" name="Прямая соединительная линия 74"/>
          <p:cNvCxnSpPr/>
          <p:nvPr/>
        </p:nvCxnSpPr>
        <p:spPr>
          <a:xfrm flipV="1">
            <a:off x="9201932" y="2260693"/>
            <a:ext cx="0" cy="326270"/>
          </a:xfrm>
          <a:prstGeom prst="line">
            <a:avLst/>
          </a:prstGeom>
          <a:ln w="28575">
            <a:solidFill>
              <a:srgbClr val="40A7E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Прямая соединительная линия 75"/>
          <p:cNvCxnSpPr/>
          <p:nvPr/>
        </p:nvCxnSpPr>
        <p:spPr>
          <a:xfrm>
            <a:off x="7782225" y="2260693"/>
            <a:ext cx="1427799" cy="0"/>
          </a:xfrm>
          <a:prstGeom prst="line">
            <a:avLst/>
          </a:prstGeom>
          <a:ln w="28575">
            <a:solidFill>
              <a:srgbClr val="40A7E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TextBox 76"/>
          <p:cNvSpPr txBox="1"/>
          <p:nvPr/>
        </p:nvSpPr>
        <p:spPr>
          <a:xfrm>
            <a:off x="1895322" y="1126629"/>
            <a:ext cx="1000738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ru-RU" b="1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Подготовка к международному исследованию PISA в </a:t>
            </a:r>
            <a:r>
              <a:rPr lang="ru-RU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2022 </a:t>
            </a:r>
            <a:r>
              <a:rPr lang="ru-RU" b="1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году </a:t>
            </a:r>
            <a:endParaRPr lang="ru-RU" b="1" dirty="0" smtClean="0">
              <a:solidFill>
                <a:schemeClr val="tx1">
                  <a:lumMod val="95000"/>
                  <a:lumOff val="5000"/>
                </a:schemeClr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lvl="0">
              <a:defRPr/>
            </a:pPr>
            <a:r>
              <a:rPr lang="ru-RU" sz="14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(</a:t>
            </a:r>
            <a:r>
              <a:rPr lang="ru-RU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основное направление – </a:t>
            </a:r>
            <a:r>
              <a:rPr lang="ru-RU" sz="14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МАТЕМАТИЧЕСКАЯ ГРАМОТНОСТЬ, </a:t>
            </a:r>
            <a:r>
              <a:rPr lang="ru-RU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новое направление – </a:t>
            </a:r>
            <a:r>
              <a:rPr lang="ru-RU" sz="14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КРЕАТИВНОЕ МЫШЛЕНИЕ)</a:t>
            </a:r>
            <a:endParaRPr kumimoji="0" lang="ru-RU" sz="140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95000"/>
                  <a:lumOff val="5000"/>
                </a:schemeClr>
              </a:solidFill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67" name="Прямоугольник 66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7"/>
          <a:srcRect l="-6851" t="1420"/>
          <a:stretch/>
        </p:blipFill>
        <p:spPr>
          <a:xfrm>
            <a:off x="-10159" y="1031239"/>
            <a:ext cx="1760722" cy="769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65125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Рисунок 5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26987" y="4694622"/>
            <a:ext cx="1036029" cy="1092540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7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reeform 6"/>
          <p:cNvSpPr>
            <a:spLocks noEditPoints="1"/>
          </p:cNvSpPr>
          <p:nvPr/>
        </p:nvSpPr>
        <p:spPr bwMode="auto">
          <a:xfrm>
            <a:off x="610450" y="3527027"/>
            <a:ext cx="338950" cy="334766"/>
          </a:xfrm>
          <a:custGeom>
            <a:avLst/>
            <a:gdLst>
              <a:gd name="T0" fmla="*/ 1848 w 1894"/>
              <a:gd name="T1" fmla="*/ 177 h 1864"/>
              <a:gd name="T2" fmla="*/ 1848 w 1894"/>
              <a:gd name="T3" fmla="*/ 1818 h 1864"/>
              <a:gd name="T4" fmla="*/ 157 w 1894"/>
              <a:gd name="T5" fmla="*/ 1864 h 1864"/>
              <a:gd name="T6" fmla="*/ 0 w 1894"/>
              <a:gd name="T7" fmla="*/ 288 h 1864"/>
              <a:gd name="T8" fmla="*/ 46 w 1894"/>
              <a:gd name="T9" fmla="*/ 177 h 1864"/>
              <a:gd name="T10" fmla="*/ 394 w 1894"/>
              <a:gd name="T11" fmla="*/ 0 h 1864"/>
              <a:gd name="T12" fmla="*/ 394 w 1894"/>
              <a:gd name="T13" fmla="*/ 400 h 1864"/>
              <a:gd name="T14" fmla="*/ 122 w 1894"/>
              <a:gd name="T15" fmla="*/ 253 h 1864"/>
              <a:gd name="T16" fmla="*/ 107 w 1894"/>
              <a:gd name="T17" fmla="*/ 621 h 1864"/>
              <a:gd name="T18" fmla="*/ 1772 w 1894"/>
              <a:gd name="T19" fmla="*/ 253 h 1864"/>
              <a:gd name="T20" fmla="*/ 1547 w 1894"/>
              <a:gd name="T21" fmla="*/ 131 h 1864"/>
              <a:gd name="T22" fmla="*/ 1153 w 1894"/>
              <a:gd name="T23" fmla="*/ 1525 h 1864"/>
              <a:gd name="T24" fmla="*/ 1236 w 1894"/>
              <a:gd name="T25" fmla="*/ 1442 h 1864"/>
              <a:gd name="T26" fmla="*/ 1236 w 1894"/>
              <a:gd name="T27" fmla="*/ 1579 h 1864"/>
              <a:gd name="T28" fmla="*/ 879 w 1894"/>
              <a:gd name="T29" fmla="*/ 1525 h 1864"/>
              <a:gd name="T30" fmla="*/ 962 w 1894"/>
              <a:gd name="T31" fmla="*/ 1442 h 1864"/>
              <a:gd name="T32" fmla="*/ 962 w 1894"/>
              <a:gd name="T33" fmla="*/ 1579 h 1864"/>
              <a:gd name="T34" fmla="*/ 329 w 1894"/>
              <a:gd name="T35" fmla="*/ 1525 h 1864"/>
              <a:gd name="T36" fmla="*/ 413 w 1894"/>
              <a:gd name="T37" fmla="*/ 1442 h 1864"/>
              <a:gd name="T38" fmla="*/ 413 w 1894"/>
              <a:gd name="T39" fmla="*/ 1579 h 1864"/>
              <a:gd name="T40" fmla="*/ 604 w 1894"/>
              <a:gd name="T41" fmla="*/ 1525 h 1864"/>
              <a:gd name="T42" fmla="*/ 687 w 1894"/>
              <a:gd name="T43" fmla="*/ 1442 h 1864"/>
              <a:gd name="T44" fmla="*/ 687 w 1894"/>
              <a:gd name="T45" fmla="*/ 1579 h 1864"/>
              <a:gd name="T46" fmla="*/ 1428 w 1894"/>
              <a:gd name="T47" fmla="*/ 976 h 1864"/>
              <a:gd name="T48" fmla="*/ 1511 w 1894"/>
              <a:gd name="T49" fmla="*/ 893 h 1864"/>
              <a:gd name="T50" fmla="*/ 1511 w 1894"/>
              <a:gd name="T51" fmla="*/ 1030 h 1864"/>
              <a:gd name="T52" fmla="*/ 1153 w 1894"/>
              <a:gd name="T53" fmla="*/ 976 h 1864"/>
              <a:gd name="T54" fmla="*/ 1236 w 1894"/>
              <a:gd name="T55" fmla="*/ 893 h 1864"/>
              <a:gd name="T56" fmla="*/ 1236 w 1894"/>
              <a:gd name="T57" fmla="*/ 1030 h 1864"/>
              <a:gd name="T58" fmla="*/ 879 w 1894"/>
              <a:gd name="T59" fmla="*/ 976 h 1864"/>
              <a:gd name="T60" fmla="*/ 962 w 1894"/>
              <a:gd name="T61" fmla="*/ 893 h 1864"/>
              <a:gd name="T62" fmla="*/ 962 w 1894"/>
              <a:gd name="T63" fmla="*/ 1030 h 1864"/>
              <a:gd name="T64" fmla="*/ 604 w 1894"/>
              <a:gd name="T65" fmla="*/ 976 h 1864"/>
              <a:gd name="T66" fmla="*/ 687 w 1894"/>
              <a:gd name="T67" fmla="*/ 893 h 1864"/>
              <a:gd name="T68" fmla="*/ 687 w 1894"/>
              <a:gd name="T69" fmla="*/ 1030 h 1864"/>
              <a:gd name="T70" fmla="*/ 1428 w 1894"/>
              <a:gd name="T71" fmla="*/ 1251 h 1864"/>
              <a:gd name="T72" fmla="*/ 1511 w 1894"/>
              <a:gd name="T73" fmla="*/ 1168 h 1864"/>
              <a:gd name="T74" fmla="*/ 1511 w 1894"/>
              <a:gd name="T75" fmla="*/ 1304 h 1864"/>
              <a:gd name="T76" fmla="*/ 1153 w 1894"/>
              <a:gd name="T77" fmla="*/ 1251 h 1864"/>
              <a:gd name="T78" fmla="*/ 1236 w 1894"/>
              <a:gd name="T79" fmla="*/ 1168 h 1864"/>
              <a:gd name="T80" fmla="*/ 1236 w 1894"/>
              <a:gd name="T81" fmla="*/ 1304 h 1864"/>
              <a:gd name="T82" fmla="*/ 879 w 1894"/>
              <a:gd name="T83" fmla="*/ 1251 h 1864"/>
              <a:gd name="T84" fmla="*/ 962 w 1894"/>
              <a:gd name="T85" fmla="*/ 1168 h 1864"/>
              <a:gd name="T86" fmla="*/ 962 w 1894"/>
              <a:gd name="T87" fmla="*/ 1304 h 1864"/>
              <a:gd name="T88" fmla="*/ 329 w 1894"/>
              <a:gd name="T89" fmla="*/ 1251 h 1864"/>
              <a:gd name="T90" fmla="*/ 413 w 1894"/>
              <a:gd name="T91" fmla="*/ 1168 h 1864"/>
              <a:gd name="T92" fmla="*/ 413 w 1894"/>
              <a:gd name="T93" fmla="*/ 1304 h 1864"/>
              <a:gd name="T94" fmla="*/ 604 w 1894"/>
              <a:gd name="T95" fmla="*/ 1251 h 1864"/>
              <a:gd name="T96" fmla="*/ 687 w 1894"/>
              <a:gd name="T97" fmla="*/ 1168 h 1864"/>
              <a:gd name="T98" fmla="*/ 687 w 1894"/>
              <a:gd name="T99" fmla="*/ 1304 h 1864"/>
              <a:gd name="T100" fmla="*/ 845 w 1894"/>
              <a:gd name="T101" fmla="*/ 400 h 1864"/>
              <a:gd name="T102" fmla="*/ 645 w 1894"/>
              <a:gd name="T103" fmla="*/ 131 h 1864"/>
              <a:gd name="T104" fmla="*/ 953 w 1894"/>
              <a:gd name="T105" fmla="*/ 0 h 1864"/>
              <a:gd name="T106" fmla="*/ 1296 w 1894"/>
              <a:gd name="T107" fmla="*/ 400 h 1864"/>
              <a:gd name="T108" fmla="*/ 1096 w 1894"/>
              <a:gd name="T109" fmla="*/ 131 h 1864"/>
              <a:gd name="T110" fmla="*/ 1404 w 1894"/>
              <a:gd name="T111" fmla="*/ 0 h 1864"/>
              <a:gd name="T112" fmla="*/ 122 w 1894"/>
              <a:gd name="T113" fmla="*/ 1742 h 1864"/>
              <a:gd name="T114" fmla="*/ 1772 w 1894"/>
              <a:gd name="T115" fmla="*/ 1742 h 1864"/>
              <a:gd name="T116" fmla="*/ 1787 w 1894"/>
              <a:gd name="T117" fmla="*/ 1707 h 18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894" h="1864">
                <a:moveTo>
                  <a:pt x="1547" y="131"/>
                </a:moveTo>
                <a:lnTo>
                  <a:pt x="1737" y="131"/>
                </a:lnTo>
                <a:cubicBezTo>
                  <a:pt x="1780" y="131"/>
                  <a:pt x="1820" y="149"/>
                  <a:pt x="1848" y="177"/>
                </a:cubicBezTo>
                <a:cubicBezTo>
                  <a:pt x="1876" y="206"/>
                  <a:pt x="1894" y="245"/>
                  <a:pt x="1894" y="288"/>
                </a:cubicBezTo>
                <a:lnTo>
                  <a:pt x="1894" y="1707"/>
                </a:lnTo>
                <a:cubicBezTo>
                  <a:pt x="1894" y="1750"/>
                  <a:pt x="1876" y="1789"/>
                  <a:pt x="1848" y="1818"/>
                </a:cubicBezTo>
                <a:lnTo>
                  <a:pt x="1848" y="1818"/>
                </a:lnTo>
                <a:cubicBezTo>
                  <a:pt x="1820" y="1846"/>
                  <a:pt x="1780" y="1864"/>
                  <a:pt x="1737" y="1864"/>
                </a:cubicBezTo>
                <a:lnTo>
                  <a:pt x="157" y="1864"/>
                </a:lnTo>
                <a:cubicBezTo>
                  <a:pt x="114" y="1864"/>
                  <a:pt x="74" y="1846"/>
                  <a:pt x="46" y="1818"/>
                </a:cubicBezTo>
                <a:cubicBezTo>
                  <a:pt x="18" y="1789"/>
                  <a:pt x="0" y="1750"/>
                  <a:pt x="0" y="1707"/>
                </a:cubicBezTo>
                <a:lnTo>
                  <a:pt x="0" y="288"/>
                </a:lnTo>
                <a:cubicBezTo>
                  <a:pt x="0" y="245"/>
                  <a:pt x="18" y="206"/>
                  <a:pt x="46" y="177"/>
                </a:cubicBezTo>
                <a:lnTo>
                  <a:pt x="46" y="177"/>
                </a:lnTo>
                <a:lnTo>
                  <a:pt x="46" y="177"/>
                </a:lnTo>
                <a:cubicBezTo>
                  <a:pt x="74" y="149"/>
                  <a:pt x="114" y="131"/>
                  <a:pt x="157" y="131"/>
                </a:cubicBezTo>
                <a:lnTo>
                  <a:pt x="394" y="131"/>
                </a:lnTo>
                <a:lnTo>
                  <a:pt x="394" y="0"/>
                </a:lnTo>
                <a:lnTo>
                  <a:pt x="501" y="0"/>
                </a:lnTo>
                <a:lnTo>
                  <a:pt x="501" y="400"/>
                </a:lnTo>
                <a:lnTo>
                  <a:pt x="394" y="400"/>
                </a:lnTo>
                <a:lnTo>
                  <a:pt x="394" y="238"/>
                </a:lnTo>
                <a:lnTo>
                  <a:pt x="157" y="238"/>
                </a:lnTo>
                <a:cubicBezTo>
                  <a:pt x="143" y="238"/>
                  <a:pt x="131" y="244"/>
                  <a:pt x="122" y="253"/>
                </a:cubicBezTo>
                <a:lnTo>
                  <a:pt x="122" y="253"/>
                </a:lnTo>
                <a:cubicBezTo>
                  <a:pt x="113" y="262"/>
                  <a:pt x="107" y="274"/>
                  <a:pt x="107" y="288"/>
                </a:cubicBezTo>
                <a:lnTo>
                  <a:pt x="107" y="621"/>
                </a:lnTo>
                <a:lnTo>
                  <a:pt x="1787" y="621"/>
                </a:lnTo>
                <a:lnTo>
                  <a:pt x="1787" y="288"/>
                </a:lnTo>
                <a:cubicBezTo>
                  <a:pt x="1787" y="274"/>
                  <a:pt x="1781" y="262"/>
                  <a:pt x="1772" y="253"/>
                </a:cubicBezTo>
                <a:cubicBezTo>
                  <a:pt x="1763" y="244"/>
                  <a:pt x="1751" y="238"/>
                  <a:pt x="1737" y="238"/>
                </a:cubicBezTo>
                <a:lnTo>
                  <a:pt x="1547" y="238"/>
                </a:lnTo>
                <a:lnTo>
                  <a:pt x="1547" y="131"/>
                </a:lnTo>
                <a:close/>
                <a:moveTo>
                  <a:pt x="1236" y="1579"/>
                </a:moveTo>
                <a:lnTo>
                  <a:pt x="1207" y="1579"/>
                </a:lnTo>
                <a:cubicBezTo>
                  <a:pt x="1177" y="1579"/>
                  <a:pt x="1153" y="1555"/>
                  <a:pt x="1153" y="1525"/>
                </a:cubicBezTo>
                <a:lnTo>
                  <a:pt x="1153" y="1496"/>
                </a:lnTo>
                <a:cubicBezTo>
                  <a:pt x="1153" y="1466"/>
                  <a:pt x="1177" y="1442"/>
                  <a:pt x="1207" y="1442"/>
                </a:cubicBezTo>
                <a:lnTo>
                  <a:pt x="1236" y="1442"/>
                </a:lnTo>
                <a:cubicBezTo>
                  <a:pt x="1266" y="1442"/>
                  <a:pt x="1290" y="1466"/>
                  <a:pt x="1290" y="1496"/>
                </a:cubicBezTo>
                <a:lnTo>
                  <a:pt x="1290" y="1525"/>
                </a:lnTo>
                <a:cubicBezTo>
                  <a:pt x="1290" y="1555"/>
                  <a:pt x="1266" y="1579"/>
                  <a:pt x="1236" y="1579"/>
                </a:cubicBezTo>
                <a:close/>
                <a:moveTo>
                  <a:pt x="962" y="1579"/>
                </a:moveTo>
                <a:lnTo>
                  <a:pt x="932" y="1579"/>
                </a:lnTo>
                <a:cubicBezTo>
                  <a:pt x="903" y="1579"/>
                  <a:pt x="879" y="1555"/>
                  <a:pt x="879" y="1525"/>
                </a:cubicBezTo>
                <a:lnTo>
                  <a:pt x="879" y="1496"/>
                </a:lnTo>
                <a:cubicBezTo>
                  <a:pt x="879" y="1466"/>
                  <a:pt x="903" y="1442"/>
                  <a:pt x="932" y="1442"/>
                </a:cubicBezTo>
                <a:lnTo>
                  <a:pt x="962" y="1442"/>
                </a:lnTo>
                <a:cubicBezTo>
                  <a:pt x="992" y="1442"/>
                  <a:pt x="1016" y="1466"/>
                  <a:pt x="1016" y="1496"/>
                </a:cubicBezTo>
                <a:lnTo>
                  <a:pt x="1016" y="1525"/>
                </a:lnTo>
                <a:cubicBezTo>
                  <a:pt x="1016" y="1555"/>
                  <a:pt x="992" y="1579"/>
                  <a:pt x="962" y="1579"/>
                </a:cubicBezTo>
                <a:close/>
                <a:moveTo>
                  <a:pt x="413" y="1579"/>
                </a:moveTo>
                <a:lnTo>
                  <a:pt x="383" y="1579"/>
                </a:lnTo>
                <a:cubicBezTo>
                  <a:pt x="353" y="1579"/>
                  <a:pt x="329" y="1555"/>
                  <a:pt x="329" y="1525"/>
                </a:cubicBezTo>
                <a:lnTo>
                  <a:pt x="329" y="1496"/>
                </a:lnTo>
                <a:cubicBezTo>
                  <a:pt x="329" y="1466"/>
                  <a:pt x="353" y="1442"/>
                  <a:pt x="383" y="1442"/>
                </a:cubicBezTo>
                <a:lnTo>
                  <a:pt x="413" y="1442"/>
                </a:lnTo>
                <a:cubicBezTo>
                  <a:pt x="442" y="1442"/>
                  <a:pt x="466" y="1466"/>
                  <a:pt x="466" y="1496"/>
                </a:cubicBezTo>
                <a:lnTo>
                  <a:pt x="466" y="1525"/>
                </a:lnTo>
                <a:cubicBezTo>
                  <a:pt x="466" y="1555"/>
                  <a:pt x="442" y="1579"/>
                  <a:pt x="413" y="1579"/>
                </a:cubicBezTo>
                <a:close/>
                <a:moveTo>
                  <a:pt x="687" y="1579"/>
                </a:moveTo>
                <a:lnTo>
                  <a:pt x="658" y="1579"/>
                </a:lnTo>
                <a:cubicBezTo>
                  <a:pt x="628" y="1579"/>
                  <a:pt x="604" y="1555"/>
                  <a:pt x="604" y="1525"/>
                </a:cubicBezTo>
                <a:lnTo>
                  <a:pt x="604" y="1496"/>
                </a:lnTo>
                <a:cubicBezTo>
                  <a:pt x="604" y="1466"/>
                  <a:pt x="628" y="1442"/>
                  <a:pt x="658" y="1442"/>
                </a:cubicBezTo>
                <a:lnTo>
                  <a:pt x="687" y="1442"/>
                </a:lnTo>
                <a:cubicBezTo>
                  <a:pt x="717" y="1442"/>
                  <a:pt x="741" y="1466"/>
                  <a:pt x="741" y="1496"/>
                </a:cubicBezTo>
                <a:lnTo>
                  <a:pt x="741" y="1525"/>
                </a:lnTo>
                <a:cubicBezTo>
                  <a:pt x="741" y="1555"/>
                  <a:pt x="717" y="1579"/>
                  <a:pt x="687" y="1579"/>
                </a:cubicBezTo>
                <a:close/>
                <a:moveTo>
                  <a:pt x="1511" y="1030"/>
                </a:moveTo>
                <a:lnTo>
                  <a:pt x="1481" y="1030"/>
                </a:lnTo>
                <a:cubicBezTo>
                  <a:pt x="1452" y="1030"/>
                  <a:pt x="1428" y="1006"/>
                  <a:pt x="1428" y="976"/>
                </a:cubicBezTo>
                <a:lnTo>
                  <a:pt x="1428" y="947"/>
                </a:lnTo>
                <a:cubicBezTo>
                  <a:pt x="1428" y="917"/>
                  <a:pt x="1452" y="893"/>
                  <a:pt x="1481" y="893"/>
                </a:cubicBezTo>
                <a:lnTo>
                  <a:pt x="1511" y="893"/>
                </a:lnTo>
                <a:cubicBezTo>
                  <a:pt x="1541" y="893"/>
                  <a:pt x="1565" y="917"/>
                  <a:pt x="1565" y="947"/>
                </a:cubicBezTo>
                <a:lnTo>
                  <a:pt x="1565" y="976"/>
                </a:lnTo>
                <a:cubicBezTo>
                  <a:pt x="1565" y="1006"/>
                  <a:pt x="1541" y="1030"/>
                  <a:pt x="1511" y="1030"/>
                </a:cubicBezTo>
                <a:close/>
                <a:moveTo>
                  <a:pt x="1236" y="1030"/>
                </a:moveTo>
                <a:lnTo>
                  <a:pt x="1207" y="1030"/>
                </a:lnTo>
                <a:cubicBezTo>
                  <a:pt x="1177" y="1030"/>
                  <a:pt x="1153" y="1006"/>
                  <a:pt x="1153" y="976"/>
                </a:cubicBezTo>
                <a:lnTo>
                  <a:pt x="1153" y="947"/>
                </a:lnTo>
                <a:cubicBezTo>
                  <a:pt x="1153" y="917"/>
                  <a:pt x="1177" y="893"/>
                  <a:pt x="1207" y="893"/>
                </a:cubicBezTo>
                <a:lnTo>
                  <a:pt x="1236" y="893"/>
                </a:lnTo>
                <a:cubicBezTo>
                  <a:pt x="1266" y="893"/>
                  <a:pt x="1290" y="917"/>
                  <a:pt x="1290" y="947"/>
                </a:cubicBezTo>
                <a:lnTo>
                  <a:pt x="1290" y="976"/>
                </a:lnTo>
                <a:cubicBezTo>
                  <a:pt x="1290" y="1006"/>
                  <a:pt x="1266" y="1030"/>
                  <a:pt x="1236" y="1030"/>
                </a:cubicBezTo>
                <a:close/>
                <a:moveTo>
                  <a:pt x="962" y="1030"/>
                </a:moveTo>
                <a:lnTo>
                  <a:pt x="932" y="1030"/>
                </a:lnTo>
                <a:cubicBezTo>
                  <a:pt x="903" y="1030"/>
                  <a:pt x="879" y="1006"/>
                  <a:pt x="879" y="976"/>
                </a:cubicBezTo>
                <a:lnTo>
                  <a:pt x="879" y="947"/>
                </a:lnTo>
                <a:cubicBezTo>
                  <a:pt x="879" y="917"/>
                  <a:pt x="903" y="893"/>
                  <a:pt x="932" y="893"/>
                </a:cubicBezTo>
                <a:lnTo>
                  <a:pt x="962" y="893"/>
                </a:lnTo>
                <a:cubicBezTo>
                  <a:pt x="992" y="893"/>
                  <a:pt x="1016" y="917"/>
                  <a:pt x="1016" y="947"/>
                </a:cubicBezTo>
                <a:lnTo>
                  <a:pt x="1016" y="976"/>
                </a:lnTo>
                <a:cubicBezTo>
                  <a:pt x="1016" y="1006"/>
                  <a:pt x="992" y="1030"/>
                  <a:pt x="962" y="1030"/>
                </a:cubicBezTo>
                <a:close/>
                <a:moveTo>
                  <a:pt x="687" y="1030"/>
                </a:moveTo>
                <a:lnTo>
                  <a:pt x="658" y="1030"/>
                </a:lnTo>
                <a:cubicBezTo>
                  <a:pt x="628" y="1030"/>
                  <a:pt x="604" y="1006"/>
                  <a:pt x="604" y="976"/>
                </a:cubicBezTo>
                <a:lnTo>
                  <a:pt x="604" y="947"/>
                </a:lnTo>
                <a:cubicBezTo>
                  <a:pt x="604" y="917"/>
                  <a:pt x="628" y="893"/>
                  <a:pt x="658" y="893"/>
                </a:cubicBezTo>
                <a:lnTo>
                  <a:pt x="687" y="893"/>
                </a:lnTo>
                <a:cubicBezTo>
                  <a:pt x="717" y="893"/>
                  <a:pt x="741" y="917"/>
                  <a:pt x="741" y="947"/>
                </a:cubicBezTo>
                <a:lnTo>
                  <a:pt x="741" y="976"/>
                </a:lnTo>
                <a:cubicBezTo>
                  <a:pt x="741" y="1006"/>
                  <a:pt x="717" y="1030"/>
                  <a:pt x="687" y="1030"/>
                </a:cubicBezTo>
                <a:close/>
                <a:moveTo>
                  <a:pt x="1511" y="1304"/>
                </a:moveTo>
                <a:lnTo>
                  <a:pt x="1481" y="1304"/>
                </a:lnTo>
                <a:cubicBezTo>
                  <a:pt x="1452" y="1304"/>
                  <a:pt x="1428" y="1280"/>
                  <a:pt x="1428" y="1251"/>
                </a:cubicBezTo>
                <a:lnTo>
                  <a:pt x="1428" y="1221"/>
                </a:lnTo>
                <a:cubicBezTo>
                  <a:pt x="1428" y="1192"/>
                  <a:pt x="1452" y="1168"/>
                  <a:pt x="1481" y="1168"/>
                </a:cubicBezTo>
                <a:lnTo>
                  <a:pt x="1511" y="1168"/>
                </a:lnTo>
                <a:cubicBezTo>
                  <a:pt x="1541" y="1168"/>
                  <a:pt x="1565" y="1192"/>
                  <a:pt x="1565" y="1221"/>
                </a:cubicBezTo>
                <a:lnTo>
                  <a:pt x="1565" y="1251"/>
                </a:lnTo>
                <a:cubicBezTo>
                  <a:pt x="1565" y="1280"/>
                  <a:pt x="1541" y="1304"/>
                  <a:pt x="1511" y="1304"/>
                </a:cubicBezTo>
                <a:close/>
                <a:moveTo>
                  <a:pt x="1236" y="1304"/>
                </a:moveTo>
                <a:lnTo>
                  <a:pt x="1207" y="1304"/>
                </a:lnTo>
                <a:cubicBezTo>
                  <a:pt x="1177" y="1304"/>
                  <a:pt x="1153" y="1280"/>
                  <a:pt x="1153" y="1251"/>
                </a:cubicBezTo>
                <a:lnTo>
                  <a:pt x="1153" y="1221"/>
                </a:lnTo>
                <a:cubicBezTo>
                  <a:pt x="1153" y="1192"/>
                  <a:pt x="1177" y="1168"/>
                  <a:pt x="1207" y="1168"/>
                </a:cubicBezTo>
                <a:lnTo>
                  <a:pt x="1236" y="1168"/>
                </a:lnTo>
                <a:cubicBezTo>
                  <a:pt x="1266" y="1168"/>
                  <a:pt x="1290" y="1192"/>
                  <a:pt x="1290" y="1221"/>
                </a:cubicBezTo>
                <a:lnTo>
                  <a:pt x="1290" y="1251"/>
                </a:lnTo>
                <a:cubicBezTo>
                  <a:pt x="1290" y="1280"/>
                  <a:pt x="1266" y="1304"/>
                  <a:pt x="1236" y="1304"/>
                </a:cubicBezTo>
                <a:close/>
                <a:moveTo>
                  <a:pt x="962" y="1304"/>
                </a:moveTo>
                <a:lnTo>
                  <a:pt x="932" y="1304"/>
                </a:lnTo>
                <a:cubicBezTo>
                  <a:pt x="903" y="1304"/>
                  <a:pt x="879" y="1280"/>
                  <a:pt x="879" y="1251"/>
                </a:cubicBezTo>
                <a:lnTo>
                  <a:pt x="879" y="1221"/>
                </a:lnTo>
                <a:cubicBezTo>
                  <a:pt x="879" y="1192"/>
                  <a:pt x="903" y="1168"/>
                  <a:pt x="932" y="1168"/>
                </a:cubicBezTo>
                <a:lnTo>
                  <a:pt x="962" y="1168"/>
                </a:lnTo>
                <a:cubicBezTo>
                  <a:pt x="992" y="1168"/>
                  <a:pt x="1016" y="1192"/>
                  <a:pt x="1016" y="1221"/>
                </a:cubicBezTo>
                <a:lnTo>
                  <a:pt x="1016" y="1251"/>
                </a:lnTo>
                <a:cubicBezTo>
                  <a:pt x="1016" y="1280"/>
                  <a:pt x="992" y="1304"/>
                  <a:pt x="962" y="1304"/>
                </a:cubicBezTo>
                <a:close/>
                <a:moveTo>
                  <a:pt x="413" y="1304"/>
                </a:moveTo>
                <a:lnTo>
                  <a:pt x="383" y="1304"/>
                </a:lnTo>
                <a:cubicBezTo>
                  <a:pt x="353" y="1304"/>
                  <a:pt x="329" y="1280"/>
                  <a:pt x="329" y="1251"/>
                </a:cubicBezTo>
                <a:lnTo>
                  <a:pt x="329" y="1221"/>
                </a:lnTo>
                <a:cubicBezTo>
                  <a:pt x="329" y="1192"/>
                  <a:pt x="353" y="1168"/>
                  <a:pt x="383" y="1168"/>
                </a:cubicBezTo>
                <a:lnTo>
                  <a:pt x="413" y="1168"/>
                </a:lnTo>
                <a:cubicBezTo>
                  <a:pt x="442" y="1168"/>
                  <a:pt x="466" y="1192"/>
                  <a:pt x="466" y="1221"/>
                </a:cubicBezTo>
                <a:lnTo>
                  <a:pt x="466" y="1251"/>
                </a:lnTo>
                <a:cubicBezTo>
                  <a:pt x="466" y="1280"/>
                  <a:pt x="442" y="1304"/>
                  <a:pt x="413" y="1304"/>
                </a:cubicBezTo>
                <a:close/>
                <a:moveTo>
                  <a:pt x="687" y="1304"/>
                </a:moveTo>
                <a:lnTo>
                  <a:pt x="658" y="1304"/>
                </a:lnTo>
                <a:cubicBezTo>
                  <a:pt x="628" y="1304"/>
                  <a:pt x="604" y="1280"/>
                  <a:pt x="604" y="1251"/>
                </a:cubicBezTo>
                <a:lnTo>
                  <a:pt x="604" y="1221"/>
                </a:lnTo>
                <a:cubicBezTo>
                  <a:pt x="604" y="1192"/>
                  <a:pt x="628" y="1168"/>
                  <a:pt x="658" y="1168"/>
                </a:cubicBezTo>
                <a:lnTo>
                  <a:pt x="687" y="1168"/>
                </a:lnTo>
                <a:cubicBezTo>
                  <a:pt x="717" y="1168"/>
                  <a:pt x="741" y="1192"/>
                  <a:pt x="741" y="1221"/>
                </a:cubicBezTo>
                <a:lnTo>
                  <a:pt x="741" y="1251"/>
                </a:lnTo>
                <a:cubicBezTo>
                  <a:pt x="741" y="1280"/>
                  <a:pt x="717" y="1304"/>
                  <a:pt x="687" y="1304"/>
                </a:cubicBezTo>
                <a:close/>
                <a:moveTo>
                  <a:pt x="953" y="0"/>
                </a:moveTo>
                <a:lnTo>
                  <a:pt x="953" y="400"/>
                </a:lnTo>
                <a:lnTo>
                  <a:pt x="845" y="400"/>
                </a:lnTo>
                <a:lnTo>
                  <a:pt x="845" y="238"/>
                </a:lnTo>
                <a:lnTo>
                  <a:pt x="645" y="238"/>
                </a:lnTo>
                <a:lnTo>
                  <a:pt x="645" y="131"/>
                </a:lnTo>
                <a:lnTo>
                  <a:pt x="845" y="131"/>
                </a:lnTo>
                <a:lnTo>
                  <a:pt x="845" y="0"/>
                </a:lnTo>
                <a:lnTo>
                  <a:pt x="953" y="0"/>
                </a:lnTo>
                <a:close/>
                <a:moveTo>
                  <a:pt x="1404" y="0"/>
                </a:moveTo>
                <a:lnTo>
                  <a:pt x="1404" y="400"/>
                </a:lnTo>
                <a:lnTo>
                  <a:pt x="1296" y="400"/>
                </a:lnTo>
                <a:lnTo>
                  <a:pt x="1296" y="238"/>
                </a:lnTo>
                <a:lnTo>
                  <a:pt x="1096" y="238"/>
                </a:lnTo>
                <a:lnTo>
                  <a:pt x="1096" y="131"/>
                </a:lnTo>
                <a:lnTo>
                  <a:pt x="1296" y="131"/>
                </a:lnTo>
                <a:lnTo>
                  <a:pt x="1296" y="0"/>
                </a:lnTo>
                <a:lnTo>
                  <a:pt x="1404" y="0"/>
                </a:lnTo>
                <a:close/>
                <a:moveTo>
                  <a:pt x="107" y="729"/>
                </a:moveTo>
                <a:lnTo>
                  <a:pt x="107" y="1707"/>
                </a:lnTo>
                <a:cubicBezTo>
                  <a:pt x="107" y="1721"/>
                  <a:pt x="113" y="1733"/>
                  <a:pt x="122" y="1742"/>
                </a:cubicBezTo>
                <a:cubicBezTo>
                  <a:pt x="131" y="1751"/>
                  <a:pt x="143" y="1757"/>
                  <a:pt x="157" y="1757"/>
                </a:cubicBezTo>
                <a:lnTo>
                  <a:pt x="1737" y="1757"/>
                </a:lnTo>
                <a:cubicBezTo>
                  <a:pt x="1751" y="1757"/>
                  <a:pt x="1763" y="1751"/>
                  <a:pt x="1772" y="1742"/>
                </a:cubicBezTo>
                <a:lnTo>
                  <a:pt x="1772" y="1742"/>
                </a:lnTo>
                <a:lnTo>
                  <a:pt x="1772" y="1742"/>
                </a:lnTo>
                <a:cubicBezTo>
                  <a:pt x="1781" y="1733"/>
                  <a:pt x="1787" y="1721"/>
                  <a:pt x="1787" y="1707"/>
                </a:cubicBezTo>
                <a:lnTo>
                  <a:pt x="1787" y="729"/>
                </a:lnTo>
                <a:lnTo>
                  <a:pt x="107" y="72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65" name="Freeform 6"/>
          <p:cNvSpPr>
            <a:spLocks noEditPoints="1"/>
          </p:cNvSpPr>
          <p:nvPr/>
        </p:nvSpPr>
        <p:spPr bwMode="auto">
          <a:xfrm>
            <a:off x="610450" y="4458758"/>
            <a:ext cx="338950" cy="334766"/>
          </a:xfrm>
          <a:custGeom>
            <a:avLst/>
            <a:gdLst>
              <a:gd name="T0" fmla="*/ 1848 w 1894"/>
              <a:gd name="T1" fmla="*/ 177 h 1864"/>
              <a:gd name="T2" fmla="*/ 1848 w 1894"/>
              <a:gd name="T3" fmla="*/ 1818 h 1864"/>
              <a:gd name="T4" fmla="*/ 157 w 1894"/>
              <a:gd name="T5" fmla="*/ 1864 h 1864"/>
              <a:gd name="T6" fmla="*/ 0 w 1894"/>
              <a:gd name="T7" fmla="*/ 288 h 1864"/>
              <a:gd name="T8" fmla="*/ 46 w 1894"/>
              <a:gd name="T9" fmla="*/ 177 h 1864"/>
              <a:gd name="T10" fmla="*/ 394 w 1894"/>
              <a:gd name="T11" fmla="*/ 0 h 1864"/>
              <a:gd name="T12" fmla="*/ 394 w 1894"/>
              <a:gd name="T13" fmla="*/ 400 h 1864"/>
              <a:gd name="T14" fmla="*/ 122 w 1894"/>
              <a:gd name="T15" fmla="*/ 253 h 1864"/>
              <a:gd name="T16" fmla="*/ 107 w 1894"/>
              <a:gd name="T17" fmla="*/ 621 h 1864"/>
              <a:gd name="T18" fmla="*/ 1772 w 1894"/>
              <a:gd name="T19" fmla="*/ 253 h 1864"/>
              <a:gd name="T20" fmla="*/ 1547 w 1894"/>
              <a:gd name="T21" fmla="*/ 131 h 1864"/>
              <a:gd name="T22" fmla="*/ 1153 w 1894"/>
              <a:gd name="T23" fmla="*/ 1525 h 1864"/>
              <a:gd name="T24" fmla="*/ 1236 w 1894"/>
              <a:gd name="T25" fmla="*/ 1442 h 1864"/>
              <a:gd name="T26" fmla="*/ 1236 w 1894"/>
              <a:gd name="T27" fmla="*/ 1579 h 1864"/>
              <a:gd name="T28" fmla="*/ 879 w 1894"/>
              <a:gd name="T29" fmla="*/ 1525 h 1864"/>
              <a:gd name="T30" fmla="*/ 962 w 1894"/>
              <a:gd name="T31" fmla="*/ 1442 h 1864"/>
              <a:gd name="T32" fmla="*/ 962 w 1894"/>
              <a:gd name="T33" fmla="*/ 1579 h 1864"/>
              <a:gd name="T34" fmla="*/ 329 w 1894"/>
              <a:gd name="T35" fmla="*/ 1525 h 1864"/>
              <a:gd name="T36" fmla="*/ 413 w 1894"/>
              <a:gd name="T37" fmla="*/ 1442 h 1864"/>
              <a:gd name="T38" fmla="*/ 413 w 1894"/>
              <a:gd name="T39" fmla="*/ 1579 h 1864"/>
              <a:gd name="T40" fmla="*/ 604 w 1894"/>
              <a:gd name="T41" fmla="*/ 1525 h 1864"/>
              <a:gd name="T42" fmla="*/ 687 w 1894"/>
              <a:gd name="T43" fmla="*/ 1442 h 1864"/>
              <a:gd name="T44" fmla="*/ 687 w 1894"/>
              <a:gd name="T45" fmla="*/ 1579 h 1864"/>
              <a:gd name="T46" fmla="*/ 1428 w 1894"/>
              <a:gd name="T47" fmla="*/ 976 h 1864"/>
              <a:gd name="T48" fmla="*/ 1511 w 1894"/>
              <a:gd name="T49" fmla="*/ 893 h 1864"/>
              <a:gd name="T50" fmla="*/ 1511 w 1894"/>
              <a:gd name="T51" fmla="*/ 1030 h 1864"/>
              <a:gd name="T52" fmla="*/ 1153 w 1894"/>
              <a:gd name="T53" fmla="*/ 976 h 1864"/>
              <a:gd name="T54" fmla="*/ 1236 w 1894"/>
              <a:gd name="T55" fmla="*/ 893 h 1864"/>
              <a:gd name="T56" fmla="*/ 1236 w 1894"/>
              <a:gd name="T57" fmla="*/ 1030 h 1864"/>
              <a:gd name="T58" fmla="*/ 879 w 1894"/>
              <a:gd name="T59" fmla="*/ 976 h 1864"/>
              <a:gd name="T60" fmla="*/ 962 w 1894"/>
              <a:gd name="T61" fmla="*/ 893 h 1864"/>
              <a:gd name="T62" fmla="*/ 962 w 1894"/>
              <a:gd name="T63" fmla="*/ 1030 h 1864"/>
              <a:gd name="T64" fmla="*/ 604 w 1894"/>
              <a:gd name="T65" fmla="*/ 976 h 1864"/>
              <a:gd name="T66" fmla="*/ 687 w 1894"/>
              <a:gd name="T67" fmla="*/ 893 h 1864"/>
              <a:gd name="T68" fmla="*/ 687 w 1894"/>
              <a:gd name="T69" fmla="*/ 1030 h 1864"/>
              <a:gd name="T70" fmla="*/ 1428 w 1894"/>
              <a:gd name="T71" fmla="*/ 1251 h 1864"/>
              <a:gd name="T72" fmla="*/ 1511 w 1894"/>
              <a:gd name="T73" fmla="*/ 1168 h 1864"/>
              <a:gd name="T74" fmla="*/ 1511 w 1894"/>
              <a:gd name="T75" fmla="*/ 1304 h 1864"/>
              <a:gd name="T76" fmla="*/ 1153 w 1894"/>
              <a:gd name="T77" fmla="*/ 1251 h 1864"/>
              <a:gd name="T78" fmla="*/ 1236 w 1894"/>
              <a:gd name="T79" fmla="*/ 1168 h 1864"/>
              <a:gd name="T80" fmla="*/ 1236 w 1894"/>
              <a:gd name="T81" fmla="*/ 1304 h 1864"/>
              <a:gd name="T82" fmla="*/ 879 w 1894"/>
              <a:gd name="T83" fmla="*/ 1251 h 1864"/>
              <a:gd name="T84" fmla="*/ 962 w 1894"/>
              <a:gd name="T85" fmla="*/ 1168 h 1864"/>
              <a:gd name="T86" fmla="*/ 962 w 1894"/>
              <a:gd name="T87" fmla="*/ 1304 h 1864"/>
              <a:gd name="T88" fmla="*/ 329 w 1894"/>
              <a:gd name="T89" fmla="*/ 1251 h 1864"/>
              <a:gd name="T90" fmla="*/ 413 w 1894"/>
              <a:gd name="T91" fmla="*/ 1168 h 1864"/>
              <a:gd name="T92" fmla="*/ 413 w 1894"/>
              <a:gd name="T93" fmla="*/ 1304 h 1864"/>
              <a:gd name="T94" fmla="*/ 604 w 1894"/>
              <a:gd name="T95" fmla="*/ 1251 h 1864"/>
              <a:gd name="T96" fmla="*/ 687 w 1894"/>
              <a:gd name="T97" fmla="*/ 1168 h 1864"/>
              <a:gd name="T98" fmla="*/ 687 w 1894"/>
              <a:gd name="T99" fmla="*/ 1304 h 1864"/>
              <a:gd name="T100" fmla="*/ 845 w 1894"/>
              <a:gd name="T101" fmla="*/ 400 h 1864"/>
              <a:gd name="T102" fmla="*/ 645 w 1894"/>
              <a:gd name="T103" fmla="*/ 131 h 1864"/>
              <a:gd name="T104" fmla="*/ 953 w 1894"/>
              <a:gd name="T105" fmla="*/ 0 h 1864"/>
              <a:gd name="T106" fmla="*/ 1296 w 1894"/>
              <a:gd name="T107" fmla="*/ 400 h 1864"/>
              <a:gd name="T108" fmla="*/ 1096 w 1894"/>
              <a:gd name="T109" fmla="*/ 131 h 1864"/>
              <a:gd name="T110" fmla="*/ 1404 w 1894"/>
              <a:gd name="T111" fmla="*/ 0 h 1864"/>
              <a:gd name="T112" fmla="*/ 122 w 1894"/>
              <a:gd name="T113" fmla="*/ 1742 h 1864"/>
              <a:gd name="T114" fmla="*/ 1772 w 1894"/>
              <a:gd name="T115" fmla="*/ 1742 h 1864"/>
              <a:gd name="T116" fmla="*/ 1787 w 1894"/>
              <a:gd name="T117" fmla="*/ 1707 h 18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894" h="1864">
                <a:moveTo>
                  <a:pt x="1547" y="131"/>
                </a:moveTo>
                <a:lnTo>
                  <a:pt x="1737" y="131"/>
                </a:lnTo>
                <a:cubicBezTo>
                  <a:pt x="1780" y="131"/>
                  <a:pt x="1820" y="149"/>
                  <a:pt x="1848" y="177"/>
                </a:cubicBezTo>
                <a:cubicBezTo>
                  <a:pt x="1876" y="206"/>
                  <a:pt x="1894" y="245"/>
                  <a:pt x="1894" y="288"/>
                </a:cubicBezTo>
                <a:lnTo>
                  <a:pt x="1894" y="1707"/>
                </a:lnTo>
                <a:cubicBezTo>
                  <a:pt x="1894" y="1750"/>
                  <a:pt x="1876" y="1789"/>
                  <a:pt x="1848" y="1818"/>
                </a:cubicBezTo>
                <a:lnTo>
                  <a:pt x="1848" y="1818"/>
                </a:lnTo>
                <a:cubicBezTo>
                  <a:pt x="1820" y="1846"/>
                  <a:pt x="1780" y="1864"/>
                  <a:pt x="1737" y="1864"/>
                </a:cubicBezTo>
                <a:lnTo>
                  <a:pt x="157" y="1864"/>
                </a:lnTo>
                <a:cubicBezTo>
                  <a:pt x="114" y="1864"/>
                  <a:pt x="74" y="1846"/>
                  <a:pt x="46" y="1818"/>
                </a:cubicBezTo>
                <a:cubicBezTo>
                  <a:pt x="18" y="1789"/>
                  <a:pt x="0" y="1750"/>
                  <a:pt x="0" y="1707"/>
                </a:cubicBezTo>
                <a:lnTo>
                  <a:pt x="0" y="288"/>
                </a:lnTo>
                <a:cubicBezTo>
                  <a:pt x="0" y="245"/>
                  <a:pt x="18" y="206"/>
                  <a:pt x="46" y="177"/>
                </a:cubicBezTo>
                <a:lnTo>
                  <a:pt x="46" y="177"/>
                </a:lnTo>
                <a:lnTo>
                  <a:pt x="46" y="177"/>
                </a:lnTo>
                <a:cubicBezTo>
                  <a:pt x="74" y="149"/>
                  <a:pt x="114" y="131"/>
                  <a:pt x="157" y="131"/>
                </a:cubicBezTo>
                <a:lnTo>
                  <a:pt x="394" y="131"/>
                </a:lnTo>
                <a:lnTo>
                  <a:pt x="394" y="0"/>
                </a:lnTo>
                <a:lnTo>
                  <a:pt x="501" y="0"/>
                </a:lnTo>
                <a:lnTo>
                  <a:pt x="501" y="400"/>
                </a:lnTo>
                <a:lnTo>
                  <a:pt x="394" y="400"/>
                </a:lnTo>
                <a:lnTo>
                  <a:pt x="394" y="238"/>
                </a:lnTo>
                <a:lnTo>
                  <a:pt x="157" y="238"/>
                </a:lnTo>
                <a:cubicBezTo>
                  <a:pt x="143" y="238"/>
                  <a:pt x="131" y="244"/>
                  <a:pt x="122" y="253"/>
                </a:cubicBezTo>
                <a:lnTo>
                  <a:pt x="122" y="253"/>
                </a:lnTo>
                <a:cubicBezTo>
                  <a:pt x="113" y="262"/>
                  <a:pt x="107" y="274"/>
                  <a:pt x="107" y="288"/>
                </a:cubicBezTo>
                <a:lnTo>
                  <a:pt x="107" y="621"/>
                </a:lnTo>
                <a:lnTo>
                  <a:pt x="1787" y="621"/>
                </a:lnTo>
                <a:lnTo>
                  <a:pt x="1787" y="288"/>
                </a:lnTo>
                <a:cubicBezTo>
                  <a:pt x="1787" y="274"/>
                  <a:pt x="1781" y="262"/>
                  <a:pt x="1772" y="253"/>
                </a:cubicBezTo>
                <a:cubicBezTo>
                  <a:pt x="1763" y="244"/>
                  <a:pt x="1751" y="238"/>
                  <a:pt x="1737" y="238"/>
                </a:cubicBezTo>
                <a:lnTo>
                  <a:pt x="1547" y="238"/>
                </a:lnTo>
                <a:lnTo>
                  <a:pt x="1547" y="131"/>
                </a:lnTo>
                <a:close/>
                <a:moveTo>
                  <a:pt x="1236" y="1579"/>
                </a:moveTo>
                <a:lnTo>
                  <a:pt x="1207" y="1579"/>
                </a:lnTo>
                <a:cubicBezTo>
                  <a:pt x="1177" y="1579"/>
                  <a:pt x="1153" y="1555"/>
                  <a:pt x="1153" y="1525"/>
                </a:cubicBezTo>
                <a:lnTo>
                  <a:pt x="1153" y="1496"/>
                </a:lnTo>
                <a:cubicBezTo>
                  <a:pt x="1153" y="1466"/>
                  <a:pt x="1177" y="1442"/>
                  <a:pt x="1207" y="1442"/>
                </a:cubicBezTo>
                <a:lnTo>
                  <a:pt x="1236" y="1442"/>
                </a:lnTo>
                <a:cubicBezTo>
                  <a:pt x="1266" y="1442"/>
                  <a:pt x="1290" y="1466"/>
                  <a:pt x="1290" y="1496"/>
                </a:cubicBezTo>
                <a:lnTo>
                  <a:pt x="1290" y="1525"/>
                </a:lnTo>
                <a:cubicBezTo>
                  <a:pt x="1290" y="1555"/>
                  <a:pt x="1266" y="1579"/>
                  <a:pt x="1236" y="1579"/>
                </a:cubicBezTo>
                <a:close/>
                <a:moveTo>
                  <a:pt x="962" y="1579"/>
                </a:moveTo>
                <a:lnTo>
                  <a:pt x="932" y="1579"/>
                </a:lnTo>
                <a:cubicBezTo>
                  <a:pt x="903" y="1579"/>
                  <a:pt x="879" y="1555"/>
                  <a:pt x="879" y="1525"/>
                </a:cubicBezTo>
                <a:lnTo>
                  <a:pt x="879" y="1496"/>
                </a:lnTo>
                <a:cubicBezTo>
                  <a:pt x="879" y="1466"/>
                  <a:pt x="903" y="1442"/>
                  <a:pt x="932" y="1442"/>
                </a:cubicBezTo>
                <a:lnTo>
                  <a:pt x="962" y="1442"/>
                </a:lnTo>
                <a:cubicBezTo>
                  <a:pt x="992" y="1442"/>
                  <a:pt x="1016" y="1466"/>
                  <a:pt x="1016" y="1496"/>
                </a:cubicBezTo>
                <a:lnTo>
                  <a:pt x="1016" y="1525"/>
                </a:lnTo>
                <a:cubicBezTo>
                  <a:pt x="1016" y="1555"/>
                  <a:pt x="992" y="1579"/>
                  <a:pt x="962" y="1579"/>
                </a:cubicBezTo>
                <a:close/>
                <a:moveTo>
                  <a:pt x="413" y="1579"/>
                </a:moveTo>
                <a:lnTo>
                  <a:pt x="383" y="1579"/>
                </a:lnTo>
                <a:cubicBezTo>
                  <a:pt x="353" y="1579"/>
                  <a:pt x="329" y="1555"/>
                  <a:pt x="329" y="1525"/>
                </a:cubicBezTo>
                <a:lnTo>
                  <a:pt x="329" y="1496"/>
                </a:lnTo>
                <a:cubicBezTo>
                  <a:pt x="329" y="1466"/>
                  <a:pt x="353" y="1442"/>
                  <a:pt x="383" y="1442"/>
                </a:cubicBezTo>
                <a:lnTo>
                  <a:pt x="413" y="1442"/>
                </a:lnTo>
                <a:cubicBezTo>
                  <a:pt x="442" y="1442"/>
                  <a:pt x="466" y="1466"/>
                  <a:pt x="466" y="1496"/>
                </a:cubicBezTo>
                <a:lnTo>
                  <a:pt x="466" y="1525"/>
                </a:lnTo>
                <a:cubicBezTo>
                  <a:pt x="466" y="1555"/>
                  <a:pt x="442" y="1579"/>
                  <a:pt x="413" y="1579"/>
                </a:cubicBezTo>
                <a:close/>
                <a:moveTo>
                  <a:pt x="687" y="1579"/>
                </a:moveTo>
                <a:lnTo>
                  <a:pt x="658" y="1579"/>
                </a:lnTo>
                <a:cubicBezTo>
                  <a:pt x="628" y="1579"/>
                  <a:pt x="604" y="1555"/>
                  <a:pt x="604" y="1525"/>
                </a:cubicBezTo>
                <a:lnTo>
                  <a:pt x="604" y="1496"/>
                </a:lnTo>
                <a:cubicBezTo>
                  <a:pt x="604" y="1466"/>
                  <a:pt x="628" y="1442"/>
                  <a:pt x="658" y="1442"/>
                </a:cubicBezTo>
                <a:lnTo>
                  <a:pt x="687" y="1442"/>
                </a:lnTo>
                <a:cubicBezTo>
                  <a:pt x="717" y="1442"/>
                  <a:pt x="741" y="1466"/>
                  <a:pt x="741" y="1496"/>
                </a:cubicBezTo>
                <a:lnTo>
                  <a:pt x="741" y="1525"/>
                </a:lnTo>
                <a:cubicBezTo>
                  <a:pt x="741" y="1555"/>
                  <a:pt x="717" y="1579"/>
                  <a:pt x="687" y="1579"/>
                </a:cubicBezTo>
                <a:close/>
                <a:moveTo>
                  <a:pt x="1511" y="1030"/>
                </a:moveTo>
                <a:lnTo>
                  <a:pt x="1481" y="1030"/>
                </a:lnTo>
                <a:cubicBezTo>
                  <a:pt x="1452" y="1030"/>
                  <a:pt x="1428" y="1006"/>
                  <a:pt x="1428" y="976"/>
                </a:cubicBezTo>
                <a:lnTo>
                  <a:pt x="1428" y="947"/>
                </a:lnTo>
                <a:cubicBezTo>
                  <a:pt x="1428" y="917"/>
                  <a:pt x="1452" y="893"/>
                  <a:pt x="1481" y="893"/>
                </a:cubicBezTo>
                <a:lnTo>
                  <a:pt x="1511" y="893"/>
                </a:lnTo>
                <a:cubicBezTo>
                  <a:pt x="1541" y="893"/>
                  <a:pt x="1565" y="917"/>
                  <a:pt x="1565" y="947"/>
                </a:cubicBezTo>
                <a:lnTo>
                  <a:pt x="1565" y="976"/>
                </a:lnTo>
                <a:cubicBezTo>
                  <a:pt x="1565" y="1006"/>
                  <a:pt x="1541" y="1030"/>
                  <a:pt x="1511" y="1030"/>
                </a:cubicBezTo>
                <a:close/>
                <a:moveTo>
                  <a:pt x="1236" y="1030"/>
                </a:moveTo>
                <a:lnTo>
                  <a:pt x="1207" y="1030"/>
                </a:lnTo>
                <a:cubicBezTo>
                  <a:pt x="1177" y="1030"/>
                  <a:pt x="1153" y="1006"/>
                  <a:pt x="1153" y="976"/>
                </a:cubicBezTo>
                <a:lnTo>
                  <a:pt x="1153" y="947"/>
                </a:lnTo>
                <a:cubicBezTo>
                  <a:pt x="1153" y="917"/>
                  <a:pt x="1177" y="893"/>
                  <a:pt x="1207" y="893"/>
                </a:cubicBezTo>
                <a:lnTo>
                  <a:pt x="1236" y="893"/>
                </a:lnTo>
                <a:cubicBezTo>
                  <a:pt x="1266" y="893"/>
                  <a:pt x="1290" y="917"/>
                  <a:pt x="1290" y="947"/>
                </a:cubicBezTo>
                <a:lnTo>
                  <a:pt x="1290" y="976"/>
                </a:lnTo>
                <a:cubicBezTo>
                  <a:pt x="1290" y="1006"/>
                  <a:pt x="1266" y="1030"/>
                  <a:pt x="1236" y="1030"/>
                </a:cubicBezTo>
                <a:close/>
                <a:moveTo>
                  <a:pt x="962" y="1030"/>
                </a:moveTo>
                <a:lnTo>
                  <a:pt x="932" y="1030"/>
                </a:lnTo>
                <a:cubicBezTo>
                  <a:pt x="903" y="1030"/>
                  <a:pt x="879" y="1006"/>
                  <a:pt x="879" y="976"/>
                </a:cubicBezTo>
                <a:lnTo>
                  <a:pt x="879" y="947"/>
                </a:lnTo>
                <a:cubicBezTo>
                  <a:pt x="879" y="917"/>
                  <a:pt x="903" y="893"/>
                  <a:pt x="932" y="893"/>
                </a:cubicBezTo>
                <a:lnTo>
                  <a:pt x="962" y="893"/>
                </a:lnTo>
                <a:cubicBezTo>
                  <a:pt x="992" y="893"/>
                  <a:pt x="1016" y="917"/>
                  <a:pt x="1016" y="947"/>
                </a:cubicBezTo>
                <a:lnTo>
                  <a:pt x="1016" y="976"/>
                </a:lnTo>
                <a:cubicBezTo>
                  <a:pt x="1016" y="1006"/>
                  <a:pt x="992" y="1030"/>
                  <a:pt x="962" y="1030"/>
                </a:cubicBezTo>
                <a:close/>
                <a:moveTo>
                  <a:pt x="687" y="1030"/>
                </a:moveTo>
                <a:lnTo>
                  <a:pt x="658" y="1030"/>
                </a:lnTo>
                <a:cubicBezTo>
                  <a:pt x="628" y="1030"/>
                  <a:pt x="604" y="1006"/>
                  <a:pt x="604" y="976"/>
                </a:cubicBezTo>
                <a:lnTo>
                  <a:pt x="604" y="947"/>
                </a:lnTo>
                <a:cubicBezTo>
                  <a:pt x="604" y="917"/>
                  <a:pt x="628" y="893"/>
                  <a:pt x="658" y="893"/>
                </a:cubicBezTo>
                <a:lnTo>
                  <a:pt x="687" y="893"/>
                </a:lnTo>
                <a:cubicBezTo>
                  <a:pt x="717" y="893"/>
                  <a:pt x="741" y="917"/>
                  <a:pt x="741" y="947"/>
                </a:cubicBezTo>
                <a:lnTo>
                  <a:pt x="741" y="976"/>
                </a:lnTo>
                <a:cubicBezTo>
                  <a:pt x="741" y="1006"/>
                  <a:pt x="717" y="1030"/>
                  <a:pt x="687" y="1030"/>
                </a:cubicBezTo>
                <a:close/>
                <a:moveTo>
                  <a:pt x="1511" y="1304"/>
                </a:moveTo>
                <a:lnTo>
                  <a:pt x="1481" y="1304"/>
                </a:lnTo>
                <a:cubicBezTo>
                  <a:pt x="1452" y="1304"/>
                  <a:pt x="1428" y="1280"/>
                  <a:pt x="1428" y="1251"/>
                </a:cubicBezTo>
                <a:lnTo>
                  <a:pt x="1428" y="1221"/>
                </a:lnTo>
                <a:cubicBezTo>
                  <a:pt x="1428" y="1192"/>
                  <a:pt x="1452" y="1168"/>
                  <a:pt x="1481" y="1168"/>
                </a:cubicBezTo>
                <a:lnTo>
                  <a:pt x="1511" y="1168"/>
                </a:lnTo>
                <a:cubicBezTo>
                  <a:pt x="1541" y="1168"/>
                  <a:pt x="1565" y="1192"/>
                  <a:pt x="1565" y="1221"/>
                </a:cubicBezTo>
                <a:lnTo>
                  <a:pt x="1565" y="1251"/>
                </a:lnTo>
                <a:cubicBezTo>
                  <a:pt x="1565" y="1280"/>
                  <a:pt x="1541" y="1304"/>
                  <a:pt x="1511" y="1304"/>
                </a:cubicBezTo>
                <a:close/>
                <a:moveTo>
                  <a:pt x="1236" y="1304"/>
                </a:moveTo>
                <a:lnTo>
                  <a:pt x="1207" y="1304"/>
                </a:lnTo>
                <a:cubicBezTo>
                  <a:pt x="1177" y="1304"/>
                  <a:pt x="1153" y="1280"/>
                  <a:pt x="1153" y="1251"/>
                </a:cubicBezTo>
                <a:lnTo>
                  <a:pt x="1153" y="1221"/>
                </a:lnTo>
                <a:cubicBezTo>
                  <a:pt x="1153" y="1192"/>
                  <a:pt x="1177" y="1168"/>
                  <a:pt x="1207" y="1168"/>
                </a:cubicBezTo>
                <a:lnTo>
                  <a:pt x="1236" y="1168"/>
                </a:lnTo>
                <a:cubicBezTo>
                  <a:pt x="1266" y="1168"/>
                  <a:pt x="1290" y="1192"/>
                  <a:pt x="1290" y="1221"/>
                </a:cubicBezTo>
                <a:lnTo>
                  <a:pt x="1290" y="1251"/>
                </a:lnTo>
                <a:cubicBezTo>
                  <a:pt x="1290" y="1280"/>
                  <a:pt x="1266" y="1304"/>
                  <a:pt x="1236" y="1304"/>
                </a:cubicBezTo>
                <a:close/>
                <a:moveTo>
                  <a:pt x="962" y="1304"/>
                </a:moveTo>
                <a:lnTo>
                  <a:pt x="932" y="1304"/>
                </a:lnTo>
                <a:cubicBezTo>
                  <a:pt x="903" y="1304"/>
                  <a:pt x="879" y="1280"/>
                  <a:pt x="879" y="1251"/>
                </a:cubicBezTo>
                <a:lnTo>
                  <a:pt x="879" y="1221"/>
                </a:lnTo>
                <a:cubicBezTo>
                  <a:pt x="879" y="1192"/>
                  <a:pt x="903" y="1168"/>
                  <a:pt x="932" y="1168"/>
                </a:cubicBezTo>
                <a:lnTo>
                  <a:pt x="962" y="1168"/>
                </a:lnTo>
                <a:cubicBezTo>
                  <a:pt x="992" y="1168"/>
                  <a:pt x="1016" y="1192"/>
                  <a:pt x="1016" y="1221"/>
                </a:cubicBezTo>
                <a:lnTo>
                  <a:pt x="1016" y="1251"/>
                </a:lnTo>
                <a:cubicBezTo>
                  <a:pt x="1016" y="1280"/>
                  <a:pt x="992" y="1304"/>
                  <a:pt x="962" y="1304"/>
                </a:cubicBezTo>
                <a:close/>
                <a:moveTo>
                  <a:pt x="413" y="1304"/>
                </a:moveTo>
                <a:lnTo>
                  <a:pt x="383" y="1304"/>
                </a:lnTo>
                <a:cubicBezTo>
                  <a:pt x="353" y="1304"/>
                  <a:pt x="329" y="1280"/>
                  <a:pt x="329" y="1251"/>
                </a:cubicBezTo>
                <a:lnTo>
                  <a:pt x="329" y="1221"/>
                </a:lnTo>
                <a:cubicBezTo>
                  <a:pt x="329" y="1192"/>
                  <a:pt x="353" y="1168"/>
                  <a:pt x="383" y="1168"/>
                </a:cubicBezTo>
                <a:lnTo>
                  <a:pt x="413" y="1168"/>
                </a:lnTo>
                <a:cubicBezTo>
                  <a:pt x="442" y="1168"/>
                  <a:pt x="466" y="1192"/>
                  <a:pt x="466" y="1221"/>
                </a:cubicBezTo>
                <a:lnTo>
                  <a:pt x="466" y="1251"/>
                </a:lnTo>
                <a:cubicBezTo>
                  <a:pt x="466" y="1280"/>
                  <a:pt x="442" y="1304"/>
                  <a:pt x="413" y="1304"/>
                </a:cubicBezTo>
                <a:close/>
                <a:moveTo>
                  <a:pt x="687" y="1304"/>
                </a:moveTo>
                <a:lnTo>
                  <a:pt x="658" y="1304"/>
                </a:lnTo>
                <a:cubicBezTo>
                  <a:pt x="628" y="1304"/>
                  <a:pt x="604" y="1280"/>
                  <a:pt x="604" y="1251"/>
                </a:cubicBezTo>
                <a:lnTo>
                  <a:pt x="604" y="1221"/>
                </a:lnTo>
                <a:cubicBezTo>
                  <a:pt x="604" y="1192"/>
                  <a:pt x="628" y="1168"/>
                  <a:pt x="658" y="1168"/>
                </a:cubicBezTo>
                <a:lnTo>
                  <a:pt x="687" y="1168"/>
                </a:lnTo>
                <a:cubicBezTo>
                  <a:pt x="717" y="1168"/>
                  <a:pt x="741" y="1192"/>
                  <a:pt x="741" y="1221"/>
                </a:cubicBezTo>
                <a:lnTo>
                  <a:pt x="741" y="1251"/>
                </a:lnTo>
                <a:cubicBezTo>
                  <a:pt x="741" y="1280"/>
                  <a:pt x="717" y="1304"/>
                  <a:pt x="687" y="1304"/>
                </a:cubicBezTo>
                <a:close/>
                <a:moveTo>
                  <a:pt x="953" y="0"/>
                </a:moveTo>
                <a:lnTo>
                  <a:pt x="953" y="400"/>
                </a:lnTo>
                <a:lnTo>
                  <a:pt x="845" y="400"/>
                </a:lnTo>
                <a:lnTo>
                  <a:pt x="845" y="238"/>
                </a:lnTo>
                <a:lnTo>
                  <a:pt x="645" y="238"/>
                </a:lnTo>
                <a:lnTo>
                  <a:pt x="645" y="131"/>
                </a:lnTo>
                <a:lnTo>
                  <a:pt x="845" y="131"/>
                </a:lnTo>
                <a:lnTo>
                  <a:pt x="845" y="0"/>
                </a:lnTo>
                <a:lnTo>
                  <a:pt x="953" y="0"/>
                </a:lnTo>
                <a:close/>
                <a:moveTo>
                  <a:pt x="1404" y="0"/>
                </a:moveTo>
                <a:lnTo>
                  <a:pt x="1404" y="400"/>
                </a:lnTo>
                <a:lnTo>
                  <a:pt x="1296" y="400"/>
                </a:lnTo>
                <a:lnTo>
                  <a:pt x="1296" y="238"/>
                </a:lnTo>
                <a:lnTo>
                  <a:pt x="1096" y="238"/>
                </a:lnTo>
                <a:lnTo>
                  <a:pt x="1096" y="131"/>
                </a:lnTo>
                <a:lnTo>
                  <a:pt x="1296" y="131"/>
                </a:lnTo>
                <a:lnTo>
                  <a:pt x="1296" y="0"/>
                </a:lnTo>
                <a:lnTo>
                  <a:pt x="1404" y="0"/>
                </a:lnTo>
                <a:close/>
                <a:moveTo>
                  <a:pt x="107" y="729"/>
                </a:moveTo>
                <a:lnTo>
                  <a:pt x="107" y="1707"/>
                </a:lnTo>
                <a:cubicBezTo>
                  <a:pt x="107" y="1721"/>
                  <a:pt x="113" y="1733"/>
                  <a:pt x="122" y="1742"/>
                </a:cubicBezTo>
                <a:cubicBezTo>
                  <a:pt x="131" y="1751"/>
                  <a:pt x="143" y="1757"/>
                  <a:pt x="157" y="1757"/>
                </a:cubicBezTo>
                <a:lnTo>
                  <a:pt x="1737" y="1757"/>
                </a:lnTo>
                <a:cubicBezTo>
                  <a:pt x="1751" y="1757"/>
                  <a:pt x="1763" y="1751"/>
                  <a:pt x="1772" y="1742"/>
                </a:cubicBezTo>
                <a:lnTo>
                  <a:pt x="1772" y="1742"/>
                </a:lnTo>
                <a:lnTo>
                  <a:pt x="1772" y="1742"/>
                </a:lnTo>
                <a:cubicBezTo>
                  <a:pt x="1781" y="1733"/>
                  <a:pt x="1787" y="1721"/>
                  <a:pt x="1787" y="1707"/>
                </a:cubicBezTo>
                <a:lnTo>
                  <a:pt x="1787" y="729"/>
                </a:lnTo>
                <a:lnTo>
                  <a:pt x="107" y="72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67" name="Прямоугольник 66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1988907" y="252070"/>
            <a:ext cx="10007384" cy="3554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95000"/>
              </a:lnSpc>
              <a:defRPr/>
            </a:pPr>
            <a:r>
              <a:rPr lang="ru-RU" b="1" spc="-20" dirty="0" smtClean="0">
                <a:solidFill>
                  <a:srgbClr val="2D2B8D"/>
                </a:solidFill>
                <a:latin typeface="Open Sans Condensed Light" pitchFamily="34" charset="0"/>
                <a:ea typeface="Open Sans Condensed Light" pitchFamily="34" charset="0"/>
                <a:cs typeface="Open Sans Condensed Light" pitchFamily="34" charset="0"/>
              </a:rPr>
              <a:t>ДИДАКТИЧЕСКИЙ КОМПЛЕКС ИЗДАТЕЛЬСТВА «ПРОСВЕЩЕНИЕ»</a:t>
            </a:r>
            <a:r>
              <a:rPr lang="ru-RU" sz="1600" spc="-20" dirty="0" smtClean="0">
                <a:solidFill>
                  <a:srgbClr val="2D2B8D"/>
                </a:solidFill>
                <a:latin typeface="Open Sans Condensed Light" pitchFamily="34" charset="0"/>
                <a:ea typeface="Open Sans Condensed Light" pitchFamily="34" charset="0"/>
                <a:cs typeface="Open Sans Condensed Light" pitchFamily="34" charset="0"/>
              </a:rPr>
              <a:t> </a:t>
            </a:r>
            <a:endParaRPr lang="ru-RU" sz="1600" spc="-20" dirty="0">
              <a:solidFill>
                <a:srgbClr val="2D2B8D"/>
              </a:solidFill>
              <a:latin typeface="Open Sans Condensed Light" pitchFamily="34" charset="0"/>
              <a:ea typeface="Open Sans Condensed Light" pitchFamily="34" charset="0"/>
              <a:cs typeface="Open Sans Condensed Light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873217" y="1119350"/>
            <a:ext cx="329453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>
                <a:solidFill>
                  <a:srgbClr val="0070C0"/>
                </a:solidFill>
                <a:latin typeface="Arial Black" panose="020B0A04020102020204" pitchFamily="34" charset="0"/>
              </a:rPr>
              <a:t>Функциональная грамотность. </a:t>
            </a:r>
          </a:p>
          <a:p>
            <a:pPr algn="ctr"/>
            <a:r>
              <a:rPr lang="ru-RU" sz="1400" b="1" dirty="0" smtClean="0">
                <a:solidFill>
                  <a:srgbClr val="0070C0"/>
                </a:solidFill>
                <a:latin typeface="Arial Black" panose="020B0A04020102020204" pitchFamily="34" charset="0"/>
              </a:rPr>
              <a:t>Учимся для жизни</a:t>
            </a:r>
          </a:p>
          <a:p>
            <a:pPr algn="ctr"/>
            <a:r>
              <a:rPr lang="ru-RU" sz="1400" b="1" dirty="0" smtClean="0">
                <a:solidFill>
                  <a:srgbClr val="0070C0"/>
                </a:solidFill>
                <a:latin typeface="Arial Black" panose="020B0A04020102020204" pitchFamily="34" charset="0"/>
              </a:rPr>
              <a:t>5-9</a:t>
            </a:r>
            <a:endParaRPr lang="ru-RU" sz="1400" b="1" dirty="0">
              <a:solidFill>
                <a:srgbClr val="0070C0"/>
              </a:solidFill>
              <a:latin typeface="Arial Black" panose="020B0A04020102020204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735944" y="1954840"/>
            <a:ext cx="341265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i="1" dirty="0" smtClean="0">
                <a:solidFill>
                  <a:srgbClr val="0070C0"/>
                </a:solidFill>
                <a:latin typeface="Arial Black" panose="020B0A04020102020204" pitchFamily="34" charset="0"/>
              </a:rPr>
              <a:t>Индивидуальные обучающие </a:t>
            </a:r>
          </a:p>
          <a:p>
            <a:pPr algn="ctr"/>
            <a:r>
              <a:rPr lang="ru-RU" sz="1400" b="1" i="1" dirty="0">
                <a:solidFill>
                  <a:srgbClr val="0070C0"/>
                </a:solidFill>
                <a:latin typeface="Arial Black" panose="020B0A04020102020204" pitchFamily="34" charset="0"/>
              </a:rPr>
              <a:t>п</a:t>
            </a:r>
            <a:r>
              <a:rPr lang="ru-RU" sz="1400" b="1" i="1" dirty="0" smtClean="0">
                <a:solidFill>
                  <a:srgbClr val="0070C0"/>
                </a:solidFill>
                <a:latin typeface="Arial Black" panose="020B0A04020102020204" pitchFamily="34" charset="0"/>
              </a:rPr>
              <a:t>особия </a:t>
            </a:r>
          </a:p>
          <a:p>
            <a:pPr algn="ctr"/>
            <a:endParaRPr lang="ru-RU" sz="1400" b="1" i="1" dirty="0" smtClean="0">
              <a:solidFill>
                <a:srgbClr val="0070C0"/>
              </a:solidFill>
              <a:latin typeface="Arial Black" panose="020B0A04020102020204" pitchFamily="34" charset="0"/>
            </a:endParaRPr>
          </a:p>
          <a:p>
            <a:pPr algn="ctr"/>
            <a:r>
              <a:rPr lang="ru-RU" sz="1200" b="1" i="1" dirty="0" smtClean="0">
                <a:solidFill>
                  <a:srgbClr val="0070C0"/>
                </a:solidFill>
                <a:latin typeface="Arial Black" panose="020B0A04020102020204" pitchFamily="34" charset="0"/>
              </a:rPr>
              <a:t>(все виды грамотностей)</a:t>
            </a:r>
            <a:endParaRPr lang="ru-RU" sz="1200" b="1" i="1" dirty="0">
              <a:solidFill>
                <a:srgbClr val="0070C0"/>
              </a:solidFill>
              <a:latin typeface="Arial Black" panose="020B0A04020102020204" pitchFamily="34" charset="0"/>
            </a:endParaRPr>
          </a:p>
        </p:txBody>
      </p:sp>
      <p:pic>
        <p:nvPicPr>
          <p:cNvPr id="27" name="Рисунок 2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081" y="2713022"/>
            <a:ext cx="3524515" cy="3524515"/>
          </a:xfrm>
          <a:prstGeom prst="rect">
            <a:avLst/>
          </a:prstGeom>
        </p:spPr>
      </p:pic>
      <p:cxnSp>
        <p:nvCxnSpPr>
          <p:cNvPr id="28" name="Прямая соединительная линия 27"/>
          <p:cNvCxnSpPr/>
          <p:nvPr/>
        </p:nvCxnSpPr>
        <p:spPr>
          <a:xfrm>
            <a:off x="4251934" y="1105097"/>
            <a:ext cx="16431" cy="2822181"/>
          </a:xfrm>
          <a:prstGeom prst="line">
            <a:avLst/>
          </a:prstGeom>
          <a:ln w="508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 стрелкой 31"/>
          <p:cNvCxnSpPr/>
          <p:nvPr/>
        </p:nvCxnSpPr>
        <p:spPr>
          <a:xfrm>
            <a:off x="3922465" y="3927278"/>
            <a:ext cx="750871" cy="0"/>
          </a:xfrm>
          <a:prstGeom prst="straightConnector1">
            <a:avLst/>
          </a:prstGeom>
          <a:ln w="50800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/>
          <p:cNvSpPr txBox="1"/>
          <p:nvPr/>
        </p:nvSpPr>
        <p:spPr>
          <a:xfrm>
            <a:off x="4219417" y="1067685"/>
            <a:ext cx="395051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>
                <a:solidFill>
                  <a:srgbClr val="0070C0"/>
                </a:solidFill>
                <a:latin typeface="Arial Black" panose="020B0A04020102020204" pitchFamily="34" charset="0"/>
              </a:rPr>
              <a:t>Функциональная грамотность. Тренажеры</a:t>
            </a:r>
          </a:p>
          <a:p>
            <a:pPr algn="ctr"/>
            <a:r>
              <a:rPr lang="ru-RU" sz="1400" b="1" dirty="0" smtClean="0">
                <a:solidFill>
                  <a:srgbClr val="0070C0"/>
                </a:solidFill>
                <a:latin typeface="Arial Black" panose="020B0A04020102020204" pitchFamily="34" charset="0"/>
              </a:rPr>
              <a:t>5-9</a:t>
            </a:r>
            <a:endParaRPr lang="ru-RU" sz="1400" b="1" dirty="0">
              <a:solidFill>
                <a:srgbClr val="0070C0"/>
              </a:solidFill>
              <a:latin typeface="Arial Black" panose="020B0A04020102020204" pitchFamily="34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4543364" y="1974359"/>
            <a:ext cx="341265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i="1" dirty="0" smtClean="0">
                <a:solidFill>
                  <a:srgbClr val="0070C0"/>
                </a:solidFill>
                <a:latin typeface="Arial Black" panose="020B0A04020102020204" pitchFamily="34" charset="0"/>
              </a:rPr>
              <a:t>Сборники задач для отработки навыков решения задач</a:t>
            </a:r>
          </a:p>
          <a:p>
            <a:pPr algn="ctr"/>
            <a:r>
              <a:rPr lang="ru-RU" sz="1400" b="1" i="1" dirty="0" smtClean="0">
                <a:solidFill>
                  <a:srgbClr val="0070C0"/>
                </a:solidFill>
                <a:latin typeface="Arial Black" panose="020B0A04020102020204" pitchFamily="34" charset="0"/>
              </a:rPr>
              <a:t>  </a:t>
            </a:r>
            <a:r>
              <a:rPr lang="ru-RU" sz="1200" b="1" i="1" dirty="0" smtClean="0">
                <a:solidFill>
                  <a:srgbClr val="0070C0"/>
                </a:solidFill>
                <a:latin typeface="Arial Black" panose="020B0A04020102020204" pitchFamily="34" charset="0"/>
              </a:rPr>
              <a:t>(математическая и естественно-научная грамотности)</a:t>
            </a:r>
          </a:p>
        </p:txBody>
      </p:sp>
      <p:pic>
        <p:nvPicPr>
          <p:cNvPr id="35" name="Рисунок 3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8428" y="3050300"/>
            <a:ext cx="1219728" cy="1219728"/>
          </a:xfrm>
          <a:prstGeom prst="rect">
            <a:avLst/>
          </a:prstGeom>
        </p:spPr>
      </p:pic>
      <p:pic>
        <p:nvPicPr>
          <p:cNvPr id="36" name="Рисунок 3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2213" y="2979153"/>
            <a:ext cx="1236652" cy="1236652"/>
          </a:xfrm>
          <a:prstGeom prst="rect">
            <a:avLst/>
          </a:prstGeom>
        </p:spPr>
      </p:pic>
      <p:pic>
        <p:nvPicPr>
          <p:cNvPr id="37" name="Рисунок 3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41593" y="4398366"/>
            <a:ext cx="1215531" cy="1215531"/>
          </a:xfrm>
          <a:prstGeom prst="rect">
            <a:avLst/>
          </a:prstGeom>
        </p:spPr>
      </p:pic>
      <p:pic>
        <p:nvPicPr>
          <p:cNvPr id="38" name="Рисунок 3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7651" y="4425585"/>
            <a:ext cx="1237835" cy="1237835"/>
          </a:xfrm>
          <a:prstGeom prst="rect">
            <a:avLst/>
          </a:prstGeom>
        </p:spPr>
      </p:pic>
      <p:cxnSp>
        <p:nvCxnSpPr>
          <p:cNvPr id="39" name="Прямая соединительная линия 38"/>
          <p:cNvCxnSpPr/>
          <p:nvPr/>
        </p:nvCxnSpPr>
        <p:spPr>
          <a:xfrm>
            <a:off x="8217801" y="1112023"/>
            <a:ext cx="4090" cy="2815255"/>
          </a:xfrm>
          <a:prstGeom prst="line">
            <a:avLst/>
          </a:prstGeom>
          <a:ln w="508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 стрелкой 39"/>
          <p:cNvCxnSpPr/>
          <p:nvPr/>
        </p:nvCxnSpPr>
        <p:spPr>
          <a:xfrm>
            <a:off x="7855746" y="3902547"/>
            <a:ext cx="750871" cy="0"/>
          </a:xfrm>
          <a:prstGeom prst="straightConnector1">
            <a:avLst/>
          </a:prstGeom>
          <a:ln w="50800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/>
          <p:cNvSpPr txBox="1"/>
          <p:nvPr/>
        </p:nvSpPr>
        <p:spPr>
          <a:xfrm>
            <a:off x="8045772" y="1063136"/>
            <a:ext cx="395051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>
                <a:solidFill>
                  <a:srgbClr val="0070C0"/>
                </a:solidFill>
                <a:latin typeface="Arial Black" panose="020B0A04020102020204" pitchFamily="34" charset="0"/>
              </a:rPr>
              <a:t>Задачники</a:t>
            </a:r>
          </a:p>
          <a:p>
            <a:pPr algn="ctr"/>
            <a:r>
              <a:rPr lang="ru-RU" sz="1400" b="1" dirty="0">
                <a:solidFill>
                  <a:srgbClr val="0070C0"/>
                </a:solidFill>
                <a:latin typeface="Arial Black" panose="020B0A04020102020204" pitchFamily="34" charset="0"/>
              </a:rPr>
              <a:t>2</a:t>
            </a:r>
            <a:r>
              <a:rPr lang="ru-RU" sz="1400" b="1" dirty="0" smtClean="0">
                <a:solidFill>
                  <a:srgbClr val="0070C0"/>
                </a:solidFill>
                <a:latin typeface="Arial Black" panose="020B0A04020102020204" pitchFamily="34" charset="0"/>
              </a:rPr>
              <a:t>-4, 8-9, 10-11</a:t>
            </a:r>
            <a:endParaRPr lang="ru-RU" sz="1400" b="1" dirty="0">
              <a:solidFill>
                <a:srgbClr val="0070C0"/>
              </a:solidFill>
              <a:latin typeface="Arial Black" panose="020B0A04020102020204" pitchFamily="34" charset="0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8132664" y="1953577"/>
            <a:ext cx="391558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i="1" dirty="0" smtClean="0">
                <a:solidFill>
                  <a:srgbClr val="0070C0"/>
                </a:solidFill>
                <a:latin typeface="Arial Black" panose="020B0A04020102020204" pitchFamily="34" charset="0"/>
              </a:rPr>
              <a:t>Многофункциональные сборники задач </a:t>
            </a:r>
          </a:p>
          <a:p>
            <a:pPr algn="ctr"/>
            <a:endParaRPr lang="ru-RU" sz="1400" b="1" i="1" dirty="0" smtClean="0">
              <a:solidFill>
                <a:srgbClr val="0070C0"/>
              </a:solidFill>
              <a:latin typeface="Arial Black" panose="020B0A04020102020204" pitchFamily="34" charset="0"/>
            </a:endParaRPr>
          </a:p>
          <a:p>
            <a:pPr algn="ctr"/>
            <a:r>
              <a:rPr lang="ru-RU" sz="1200" b="1" i="1" dirty="0" smtClean="0">
                <a:solidFill>
                  <a:srgbClr val="0070C0"/>
                </a:solidFill>
                <a:latin typeface="Arial Black" panose="020B0A04020102020204" pitchFamily="34" charset="0"/>
              </a:rPr>
              <a:t>(функциональная грамотность, углубленное изучение предмета, олимпиады)</a:t>
            </a:r>
            <a:r>
              <a:rPr lang="ru-RU" sz="1400" b="1" i="1" dirty="0" smtClean="0">
                <a:solidFill>
                  <a:srgbClr val="0070C0"/>
                </a:solidFill>
                <a:latin typeface="Arial Black" panose="020B0A04020102020204" pitchFamily="34" charset="0"/>
              </a:rPr>
              <a:t> </a:t>
            </a:r>
            <a:endParaRPr lang="ru-RU" sz="1400" b="1" i="1" dirty="0">
              <a:solidFill>
                <a:srgbClr val="0070C0"/>
              </a:solidFill>
              <a:latin typeface="Arial Black" panose="020B0A04020102020204" pitchFamily="34" charset="0"/>
            </a:endParaRPr>
          </a:p>
        </p:txBody>
      </p:sp>
      <p:pic>
        <p:nvPicPr>
          <p:cNvPr id="43" name="Рисунок 42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51818" y="3420214"/>
            <a:ext cx="795591" cy="795591"/>
          </a:xfrm>
          <a:prstGeom prst="rect">
            <a:avLst/>
          </a:prstGeom>
        </p:spPr>
      </p:pic>
      <p:pic>
        <p:nvPicPr>
          <p:cNvPr id="44" name="Рисунок 43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7345" y="3438742"/>
            <a:ext cx="756281" cy="756281"/>
          </a:xfrm>
          <a:prstGeom prst="rect">
            <a:avLst/>
          </a:prstGeom>
        </p:spPr>
      </p:pic>
      <p:pic>
        <p:nvPicPr>
          <p:cNvPr id="45" name="Рисунок 44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45002" y="4112380"/>
            <a:ext cx="798919" cy="798919"/>
          </a:xfrm>
          <a:prstGeom prst="rect">
            <a:avLst/>
          </a:prstGeom>
        </p:spPr>
      </p:pic>
      <p:pic>
        <p:nvPicPr>
          <p:cNvPr id="46" name="Рисунок 45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38147" y="4173833"/>
            <a:ext cx="794635" cy="794635"/>
          </a:xfrm>
          <a:prstGeom prst="rect">
            <a:avLst/>
          </a:prstGeom>
        </p:spPr>
      </p:pic>
      <p:pic>
        <p:nvPicPr>
          <p:cNvPr id="47" name="Рисунок 46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0677331" y="4089645"/>
            <a:ext cx="858404" cy="893298"/>
          </a:xfrm>
          <a:prstGeom prst="rect">
            <a:avLst/>
          </a:prstGeom>
        </p:spPr>
      </p:pic>
      <p:pic>
        <p:nvPicPr>
          <p:cNvPr id="64" name="Рисунок 63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5001" y="4841970"/>
            <a:ext cx="756281" cy="756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49576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Прямоугольник 45"/>
          <p:cNvSpPr/>
          <p:nvPr/>
        </p:nvSpPr>
        <p:spPr>
          <a:xfrm>
            <a:off x="1" y="1029098"/>
            <a:ext cx="12188950" cy="791464"/>
          </a:xfrm>
          <a:prstGeom prst="rect">
            <a:avLst/>
          </a:prstGeom>
          <a:solidFill>
            <a:srgbClr val="D8EBF4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52" name="TextBox 51"/>
          <p:cNvSpPr txBox="1"/>
          <p:nvPr/>
        </p:nvSpPr>
        <p:spPr>
          <a:xfrm>
            <a:off x="1895322" y="1085439"/>
            <a:ext cx="9761219" cy="6832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20000"/>
              </a:lnSpc>
              <a:defRPr/>
            </a:pPr>
            <a:r>
              <a:rPr lang="ru-RU" sz="16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СБОРНИКИ ЭТАЛОННЫХ ИЗДАНИЙ </a:t>
            </a:r>
          </a:p>
          <a:p>
            <a:pPr lvl="0">
              <a:lnSpc>
                <a:spcPct val="120000"/>
              </a:lnSpc>
              <a:defRPr/>
            </a:pPr>
            <a:r>
              <a:rPr lang="ru-RU" sz="16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под </a:t>
            </a:r>
            <a:r>
              <a:rPr lang="ru-RU" sz="160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редакцией Г.С. Ковалёвой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-3051" y="1029097"/>
            <a:ext cx="1753613" cy="791465"/>
          </a:xfrm>
          <a:prstGeom prst="rect">
            <a:avLst/>
          </a:prstGeom>
          <a:solidFill>
            <a:srgbClr val="40A7E1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5" name="Прямоугольник 54"/>
          <p:cNvSpPr/>
          <p:nvPr/>
        </p:nvSpPr>
        <p:spPr>
          <a:xfrm>
            <a:off x="154050" y="1970446"/>
            <a:ext cx="5942572" cy="4070345"/>
          </a:xfrm>
          <a:prstGeom prst="rect">
            <a:avLst/>
          </a:prstGeom>
        </p:spPr>
        <p:txBody>
          <a:bodyPr wrap="square" lIns="0" tIns="45720" rIns="91440" bIns="45720">
            <a:spAutoFit/>
          </a:bodyPr>
          <a:lstStyle/>
          <a:p>
            <a:pPr marL="285750" indent="-285750" algn="just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Предназначены для формирования и оценки всех </a:t>
            </a: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направлений </a:t>
            </a:r>
            <a:r>
              <a:rPr lang="ru-RU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функциональной </a:t>
            </a: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грамотности международного сравнительного исследования PISA</a:t>
            </a:r>
            <a:endParaRPr lang="ru-RU" sz="1400" dirty="0">
              <a:solidFill>
                <a:schemeClr val="tx1">
                  <a:lumMod val="75000"/>
                  <a:lumOff val="25000"/>
                </a:schemeClr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285750" indent="-285750" algn="just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Содержат обучающие и тренировочные задания, охватывающие все содержательные и </a:t>
            </a: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компетентностные </a:t>
            </a:r>
            <a:r>
              <a:rPr lang="ru-RU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аспекты оценки функциональной грамотности по каждой из областей. Приводятся развёрнутые описания особенностей оценки заданий, рекомендации по использованию системы заданий и их оценки. Все задания построены на основе реальных жизненных </a:t>
            </a: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ситуаций</a:t>
            </a:r>
            <a:endParaRPr lang="ru-RU" sz="1400" dirty="0">
              <a:solidFill>
                <a:schemeClr val="tx1">
                  <a:lumMod val="75000"/>
                  <a:lumOff val="25000"/>
                </a:schemeClr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285750" indent="-285750" algn="just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Могут быть использованы в обучающих целях педагогами на уроках и во внеурочной деятельности, а также администрацией школы для организации внутришкольного мониторинга по оценке функциональной </a:t>
            </a: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грамотности.</a:t>
            </a:r>
          </a:p>
          <a:p>
            <a:pPr marL="285750" indent="-285750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Готовится второй выпуск (сентябрь 2020 г.)</a:t>
            </a:r>
            <a:endParaRPr lang="ru-RU" sz="1400" dirty="0">
              <a:solidFill>
                <a:schemeClr val="tx1">
                  <a:lumMod val="75000"/>
                  <a:lumOff val="25000"/>
                </a:schemeClr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pic>
        <p:nvPicPr>
          <p:cNvPr id="59" name="Рисунок 5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7088" y="1234141"/>
            <a:ext cx="1606191" cy="2176506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pic>
        <p:nvPicPr>
          <p:cNvPr id="62" name="Рисунок 6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79736" y="1190172"/>
            <a:ext cx="1602880" cy="2166032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pic>
        <p:nvPicPr>
          <p:cNvPr id="63" name="Рисунок 6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6916" y="1339215"/>
            <a:ext cx="1602880" cy="2170740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sp>
        <p:nvSpPr>
          <p:cNvPr id="57" name="TextBox 56"/>
          <p:cNvSpPr txBox="1"/>
          <p:nvPr/>
        </p:nvSpPr>
        <p:spPr>
          <a:xfrm>
            <a:off x="1873319" y="352674"/>
            <a:ext cx="10029387" cy="3277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b="1" dirty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Серия </a:t>
            </a:r>
            <a:r>
              <a:rPr lang="ru-RU" b="1" dirty="0" smtClean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«ФУНКЦИОНАЛЬНАЯ ГРАМОТНОСТЬ. УЧИМСЯ ДЛЯ ЖИЗНИ»</a:t>
            </a:r>
            <a:endParaRPr kumimoji="0" lang="ru-RU" b="1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Open Sans Condensed" pitchFamily="34" charset="0"/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4" name="Прямая соединительная линия 63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8" name="Рисунок 4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47032" y="1237024"/>
            <a:ext cx="1602880" cy="2170740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8" name="Рисунок 37" descr="C:\Users\ABaburin\AppData\Local\Microsoft\Windows\Temporary Internet Files\Content.Word\Финансовая 2-2.jpg"/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6829" y="3772359"/>
            <a:ext cx="1587500" cy="2095500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pic>
        <p:nvPicPr>
          <p:cNvPr id="39" name="Рисунок 38" descr="C:\Users\ABaburin\AppData\Local\Microsoft\Windows\Temporary Internet Files\Content.Word\Финансовая 2-1.jpg"/>
          <p:cNvPicPr/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37673" y="4171660"/>
            <a:ext cx="1682115" cy="2219960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pic>
        <p:nvPicPr>
          <p:cNvPr id="40" name="Рисунок 39" descr="C:\Users\ABaburin\AppData\Local\Microsoft\Windows\Temporary Internet Files\Content.Word\Читательская 2-1.jpg"/>
          <p:cNvPicPr/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40311" y="3807065"/>
            <a:ext cx="1695450" cy="2237740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pic>
        <p:nvPicPr>
          <p:cNvPr id="41" name="Рисунок 40" descr="C:\Users\ABaburin\AppData\Local\Microsoft\Windows\Temporary Internet Files\Content.Word\Читательская 2-2.jpg"/>
          <p:cNvPicPr/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29995" y="4221006"/>
            <a:ext cx="1698625" cy="2241550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pic>
        <p:nvPicPr>
          <p:cNvPr id="64514" name="Picture 2" descr="https://catalog.prosv.ru/images/big/9165c818-8902-11e8-b216-0050569c7d18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8841" y="4171660"/>
            <a:ext cx="1607884" cy="21813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896390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9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reeform 6"/>
          <p:cNvSpPr>
            <a:spLocks noEditPoints="1"/>
          </p:cNvSpPr>
          <p:nvPr/>
        </p:nvSpPr>
        <p:spPr bwMode="auto">
          <a:xfrm>
            <a:off x="610450" y="3527027"/>
            <a:ext cx="338950" cy="334766"/>
          </a:xfrm>
          <a:custGeom>
            <a:avLst/>
            <a:gdLst>
              <a:gd name="T0" fmla="*/ 1848 w 1894"/>
              <a:gd name="T1" fmla="*/ 177 h 1864"/>
              <a:gd name="T2" fmla="*/ 1848 w 1894"/>
              <a:gd name="T3" fmla="*/ 1818 h 1864"/>
              <a:gd name="T4" fmla="*/ 157 w 1894"/>
              <a:gd name="T5" fmla="*/ 1864 h 1864"/>
              <a:gd name="T6" fmla="*/ 0 w 1894"/>
              <a:gd name="T7" fmla="*/ 288 h 1864"/>
              <a:gd name="T8" fmla="*/ 46 w 1894"/>
              <a:gd name="T9" fmla="*/ 177 h 1864"/>
              <a:gd name="T10" fmla="*/ 394 w 1894"/>
              <a:gd name="T11" fmla="*/ 0 h 1864"/>
              <a:gd name="T12" fmla="*/ 394 w 1894"/>
              <a:gd name="T13" fmla="*/ 400 h 1864"/>
              <a:gd name="T14" fmla="*/ 122 w 1894"/>
              <a:gd name="T15" fmla="*/ 253 h 1864"/>
              <a:gd name="T16" fmla="*/ 107 w 1894"/>
              <a:gd name="T17" fmla="*/ 621 h 1864"/>
              <a:gd name="T18" fmla="*/ 1772 w 1894"/>
              <a:gd name="T19" fmla="*/ 253 h 1864"/>
              <a:gd name="T20" fmla="*/ 1547 w 1894"/>
              <a:gd name="T21" fmla="*/ 131 h 1864"/>
              <a:gd name="T22" fmla="*/ 1153 w 1894"/>
              <a:gd name="T23" fmla="*/ 1525 h 1864"/>
              <a:gd name="T24" fmla="*/ 1236 w 1894"/>
              <a:gd name="T25" fmla="*/ 1442 h 1864"/>
              <a:gd name="T26" fmla="*/ 1236 w 1894"/>
              <a:gd name="T27" fmla="*/ 1579 h 1864"/>
              <a:gd name="T28" fmla="*/ 879 w 1894"/>
              <a:gd name="T29" fmla="*/ 1525 h 1864"/>
              <a:gd name="T30" fmla="*/ 962 w 1894"/>
              <a:gd name="T31" fmla="*/ 1442 h 1864"/>
              <a:gd name="T32" fmla="*/ 962 w 1894"/>
              <a:gd name="T33" fmla="*/ 1579 h 1864"/>
              <a:gd name="T34" fmla="*/ 329 w 1894"/>
              <a:gd name="T35" fmla="*/ 1525 h 1864"/>
              <a:gd name="T36" fmla="*/ 413 w 1894"/>
              <a:gd name="T37" fmla="*/ 1442 h 1864"/>
              <a:gd name="T38" fmla="*/ 413 w 1894"/>
              <a:gd name="T39" fmla="*/ 1579 h 1864"/>
              <a:gd name="T40" fmla="*/ 604 w 1894"/>
              <a:gd name="T41" fmla="*/ 1525 h 1864"/>
              <a:gd name="T42" fmla="*/ 687 w 1894"/>
              <a:gd name="T43" fmla="*/ 1442 h 1864"/>
              <a:gd name="T44" fmla="*/ 687 w 1894"/>
              <a:gd name="T45" fmla="*/ 1579 h 1864"/>
              <a:gd name="T46" fmla="*/ 1428 w 1894"/>
              <a:gd name="T47" fmla="*/ 976 h 1864"/>
              <a:gd name="T48" fmla="*/ 1511 w 1894"/>
              <a:gd name="T49" fmla="*/ 893 h 1864"/>
              <a:gd name="T50" fmla="*/ 1511 w 1894"/>
              <a:gd name="T51" fmla="*/ 1030 h 1864"/>
              <a:gd name="T52" fmla="*/ 1153 w 1894"/>
              <a:gd name="T53" fmla="*/ 976 h 1864"/>
              <a:gd name="T54" fmla="*/ 1236 w 1894"/>
              <a:gd name="T55" fmla="*/ 893 h 1864"/>
              <a:gd name="T56" fmla="*/ 1236 w 1894"/>
              <a:gd name="T57" fmla="*/ 1030 h 1864"/>
              <a:gd name="T58" fmla="*/ 879 w 1894"/>
              <a:gd name="T59" fmla="*/ 976 h 1864"/>
              <a:gd name="T60" fmla="*/ 962 w 1894"/>
              <a:gd name="T61" fmla="*/ 893 h 1864"/>
              <a:gd name="T62" fmla="*/ 962 w 1894"/>
              <a:gd name="T63" fmla="*/ 1030 h 1864"/>
              <a:gd name="T64" fmla="*/ 604 w 1894"/>
              <a:gd name="T65" fmla="*/ 976 h 1864"/>
              <a:gd name="T66" fmla="*/ 687 w 1894"/>
              <a:gd name="T67" fmla="*/ 893 h 1864"/>
              <a:gd name="T68" fmla="*/ 687 w 1894"/>
              <a:gd name="T69" fmla="*/ 1030 h 1864"/>
              <a:gd name="T70" fmla="*/ 1428 w 1894"/>
              <a:gd name="T71" fmla="*/ 1251 h 1864"/>
              <a:gd name="T72" fmla="*/ 1511 w 1894"/>
              <a:gd name="T73" fmla="*/ 1168 h 1864"/>
              <a:gd name="T74" fmla="*/ 1511 w 1894"/>
              <a:gd name="T75" fmla="*/ 1304 h 1864"/>
              <a:gd name="T76" fmla="*/ 1153 w 1894"/>
              <a:gd name="T77" fmla="*/ 1251 h 1864"/>
              <a:gd name="T78" fmla="*/ 1236 w 1894"/>
              <a:gd name="T79" fmla="*/ 1168 h 1864"/>
              <a:gd name="T80" fmla="*/ 1236 w 1894"/>
              <a:gd name="T81" fmla="*/ 1304 h 1864"/>
              <a:gd name="T82" fmla="*/ 879 w 1894"/>
              <a:gd name="T83" fmla="*/ 1251 h 1864"/>
              <a:gd name="T84" fmla="*/ 962 w 1894"/>
              <a:gd name="T85" fmla="*/ 1168 h 1864"/>
              <a:gd name="T86" fmla="*/ 962 w 1894"/>
              <a:gd name="T87" fmla="*/ 1304 h 1864"/>
              <a:gd name="T88" fmla="*/ 329 w 1894"/>
              <a:gd name="T89" fmla="*/ 1251 h 1864"/>
              <a:gd name="T90" fmla="*/ 413 w 1894"/>
              <a:gd name="T91" fmla="*/ 1168 h 1864"/>
              <a:gd name="T92" fmla="*/ 413 w 1894"/>
              <a:gd name="T93" fmla="*/ 1304 h 1864"/>
              <a:gd name="T94" fmla="*/ 604 w 1894"/>
              <a:gd name="T95" fmla="*/ 1251 h 1864"/>
              <a:gd name="T96" fmla="*/ 687 w 1894"/>
              <a:gd name="T97" fmla="*/ 1168 h 1864"/>
              <a:gd name="T98" fmla="*/ 687 w 1894"/>
              <a:gd name="T99" fmla="*/ 1304 h 1864"/>
              <a:gd name="T100" fmla="*/ 845 w 1894"/>
              <a:gd name="T101" fmla="*/ 400 h 1864"/>
              <a:gd name="T102" fmla="*/ 645 w 1894"/>
              <a:gd name="T103" fmla="*/ 131 h 1864"/>
              <a:gd name="T104" fmla="*/ 953 w 1894"/>
              <a:gd name="T105" fmla="*/ 0 h 1864"/>
              <a:gd name="T106" fmla="*/ 1296 w 1894"/>
              <a:gd name="T107" fmla="*/ 400 h 1864"/>
              <a:gd name="T108" fmla="*/ 1096 w 1894"/>
              <a:gd name="T109" fmla="*/ 131 h 1864"/>
              <a:gd name="T110" fmla="*/ 1404 w 1894"/>
              <a:gd name="T111" fmla="*/ 0 h 1864"/>
              <a:gd name="T112" fmla="*/ 122 w 1894"/>
              <a:gd name="T113" fmla="*/ 1742 h 1864"/>
              <a:gd name="T114" fmla="*/ 1772 w 1894"/>
              <a:gd name="T115" fmla="*/ 1742 h 1864"/>
              <a:gd name="T116" fmla="*/ 1787 w 1894"/>
              <a:gd name="T117" fmla="*/ 1707 h 18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894" h="1864">
                <a:moveTo>
                  <a:pt x="1547" y="131"/>
                </a:moveTo>
                <a:lnTo>
                  <a:pt x="1737" y="131"/>
                </a:lnTo>
                <a:cubicBezTo>
                  <a:pt x="1780" y="131"/>
                  <a:pt x="1820" y="149"/>
                  <a:pt x="1848" y="177"/>
                </a:cubicBezTo>
                <a:cubicBezTo>
                  <a:pt x="1876" y="206"/>
                  <a:pt x="1894" y="245"/>
                  <a:pt x="1894" y="288"/>
                </a:cubicBezTo>
                <a:lnTo>
                  <a:pt x="1894" y="1707"/>
                </a:lnTo>
                <a:cubicBezTo>
                  <a:pt x="1894" y="1750"/>
                  <a:pt x="1876" y="1789"/>
                  <a:pt x="1848" y="1818"/>
                </a:cubicBezTo>
                <a:lnTo>
                  <a:pt x="1848" y="1818"/>
                </a:lnTo>
                <a:cubicBezTo>
                  <a:pt x="1820" y="1846"/>
                  <a:pt x="1780" y="1864"/>
                  <a:pt x="1737" y="1864"/>
                </a:cubicBezTo>
                <a:lnTo>
                  <a:pt x="157" y="1864"/>
                </a:lnTo>
                <a:cubicBezTo>
                  <a:pt x="114" y="1864"/>
                  <a:pt x="74" y="1846"/>
                  <a:pt x="46" y="1818"/>
                </a:cubicBezTo>
                <a:cubicBezTo>
                  <a:pt x="18" y="1789"/>
                  <a:pt x="0" y="1750"/>
                  <a:pt x="0" y="1707"/>
                </a:cubicBezTo>
                <a:lnTo>
                  <a:pt x="0" y="288"/>
                </a:lnTo>
                <a:cubicBezTo>
                  <a:pt x="0" y="245"/>
                  <a:pt x="18" y="206"/>
                  <a:pt x="46" y="177"/>
                </a:cubicBezTo>
                <a:lnTo>
                  <a:pt x="46" y="177"/>
                </a:lnTo>
                <a:lnTo>
                  <a:pt x="46" y="177"/>
                </a:lnTo>
                <a:cubicBezTo>
                  <a:pt x="74" y="149"/>
                  <a:pt x="114" y="131"/>
                  <a:pt x="157" y="131"/>
                </a:cubicBezTo>
                <a:lnTo>
                  <a:pt x="394" y="131"/>
                </a:lnTo>
                <a:lnTo>
                  <a:pt x="394" y="0"/>
                </a:lnTo>
                <a:lnTo>
                  <a:pt x="501" y="0"/>
                </a:lnTo>
                <a:lnTo>
                  <a:pt x="501" y="400"/>
                </a:lnTo>
                <a:lnTo>
                  <a:pt x="394" y="400"/>
                </a:lnTo>
                <a:lnTo>
                  <a:pt x="394" y="238"/>
                </a:lnTo>
                <a:lnTo>
                  <a:pt x="157" y="238"/>
                </a:lnTo>
                <a:cubicBezTo>
                  <a:pt x="143" y="238"/>
                  <a:pt x="131" y="244"/>
                  <a:pt x="122" y="253"/>
                </a:cubicBezTo>
                <a:lnTo>
                  <a:pt x="122" y="253"/>
                </a:lnTo>
                <a:cubicBezTo>
                  <a:pt x="113" y="262"/>
                  <a:pt x="107" y="274"/>
                  <a:pt x="107" y="288"/>
                </a:cubicBezTo>
                <a:lnTo>
                  <a:pt x="107" y="621"/>
                </a:lnTo>
                <a:lnTo>
                  <a:pt x="1787" y="621"/>
                </a:lnTo>
                <a:lnTo>
                  <a:pt x="1787" y="288"/>
                </a:lnTo>
                <a:cubicBezTo>
                  <a:pt x="1787" y="274"/>
                  <a:pt x="1781" y="262"/>
                  <a:pt x="1772" y="253"/>
                </a:cubicBezTo>
                <a:cubicBezTo>
                  <a:pt x="1763" y="244"/>
                  <a:pt x="1751" y="238"/>
                  <a:pt x="1737" y="238"/>
                </a:cubicBezTo>
                <a:lnTo>
                  <a:pt x="1547" y="238"/>
                </a:lnTo>
                <a:lnTo>
                  <a:pt x="1547" y="131"/>
                </a:lnTo>
                <a:close/>
                <a:moveTo>
                  <a:pt x="1236" y="1579"/>
                </a:moveTo>
                <a:lnTo>
                  <a:pt x="1207" y="1579"/>
                </a:lnTo>
                <a:cubicBezTo>
                  <a:pt x="1177" y="1579"/>
                  <a:pt x="1153" y="1555"/>
                  <a:pt x="1153" y="1525"/>
                </a:cubicBezTo>
                <a:lnTo>
                  <a:pt x="1153" y="1496"/>
                </a:lnTo>
                <a:cubicBezTo>
                  <a:pt x="1153" y="1466"/>
                  <a:pt x="1177" y="1442"/>
                  <a:pt x="1207" y="1442"/>
                </a:cubicBezTo>
                <a:lnTo>
                  <a:pt x="1236" y="1442"/>
                </a:lnTo>
                <a:cubicBezTo>
                  <a:pt x="1266" y="1442"/>
                  <a:pt x="1290" y="1466"/>
                  <a:pt x="1290" y="1496"/>
                </a:cubicBezTo>
                <a:lnTo>
                  <a:pt x="1290" y="1525"/>
                </a:lnTo>
                <a:cubicBezTo>
                  <a:pt x="1290" y="1555"/>
                  <a:pt x="1266" y="1579"/>
                  <a:pt x="1236" y="1579"/>
                </a:cubicBezTo>
                <a:close/>
                <a:moveTo>
                  <a:pt x="962" y="1579"/>
                </a:moveTo>
                <a:lnTo>
                  <a:pt x="932" y="1579"/>
                </a:lnTo>
                <a:cubicBezTo>
                  <a:pt x="903" y="1579"/>
                  <a:pt x="879" y="1555"/>
                  <a:pt x="879" y="1525"/>
                </a:cubicBezTo>
                <a:lnTo>
                  <a:pt x="879" y="1496"/>
                </a:lnTo>
                <a:cubicBezTo>
                  <a:pt x="879" y="1466"/>
                  <a:pt x="903" y="1442"/>
                  <a:pt x="932" y="1442"/>
                </a:cubicBezTo>
                <a:lnTo>
                  <a:pt x="962" y="1442"/>
                </a:lnTo>
                <a:cubicBezTo>
                  <a:pt x="992" y="1442"/>
                  <a:pt x="1016" y="1466"/>
                  <a:pt x="1016" y="1496"/>
                </a:cubicBezTo>
                <a:lnTo>
                  <a:pt x="1016" y="1525"/>
                </a:lnTo>
                <a:cubicBezTo>
                  <a:pt x="1016" y="1555"/>
                  <a:pt x="992" y="1579"/>
                  <a:pt x="962" y="1579"/>
                </a:cubicBezTo>
                <a:close/>
                <a:moveTo>
                  <a:pt x="413" y="1579"/>
                </a:moveTo>
                <a:lnTo>
                  <a:pt x="383" y="1579"/>
                </a:lnTo>
                <a:cubicBezTo>
                  <a:pt x="353" y="1579"/>
                  <a:pt x="329" y="1555"/>
                  <a:pt x="329" y="1525"/>
                </a:cubicBezTo>
                <a:lnTo>
                  <a:pt x="329" y="1496"/>
                </a:lnTo>
                <a:cubicBezTo>
                  <a:pt x="329" y="1466"/>
                  <a:pt x="353" y="1442"/>
                  <a:pt x="383" y="1442"/>
                </a:cubicBezTo>
                <a:lnTo>
                  <a:pt x="413" y="1442"/>
                </a:lnTo>
                <a:cubicBezTo>
                  <a:pt x="442" y="1442"/>
                  <a:pt x="466" y="1466"/>
                  <a:pt x="466" y="1496"/>
                </a:cubicBezTo>
                <a:lnTo>
                  <a:pt x="466" y="1525"/>
                </a:lnTo>
                <a:cubicBezTo>
                  <a:pt x="466" y="1555"/>
                  <a:pt x="442" y="1579"/>
                  <a:pt x="413" y="1579"/>
                </a:cubicBezTo>
                <a:close/>
                <a:moveTo>
                  <a:pt x="687" y="1579"/>
                </a:moveTo>
                <a:lnTo>
                  <a:pt x="658" y="1579"/>
                </a:lnTo>
                <a:cubicBezTo>
                  <a:pt x="628" y="1579"/>
                  <a:pt x="604" y="1555"/>
                  <a:pt x="604" y="1525"/>
                </a:cubicBezTo>
                <a:lnTo>
                  <a:pt x="604" y="1496"/>
                </a:lnTo>
                <a:cubicBezTo>
                  <a:pt x="604" y="1466"/>
                  <a:pt x="628" y="1442"/>
                  <a:pt x="658" y="1442"/>
                </a:cubicBezTo>
                <a:lnTo>
                  <a:pt x="687" y="1442"/>
                </a:lnTo>
                <a:cubicBezTo>
                  <a:pt x="717" y="1442"/>
                  <a:pt x="741" y="1466"/>
                  <a:pt x="741" y="1496"/>
                </a:cubicBezTo>
                <a:lnTo>
                  <a:pt x="741" y="1525"/>
                </a:lnTo>
                <a:cubicBezTo>
                  <a:pt x="741" y="1555"/>
                  <a:pt x="717" y="1579"/>
                  <a:pt x="687" y="1579"/>
                </a:cubicBezTo>
                <a:close/>
                <a:moveTo>
                  <a:pt x="1511" y="1030"/>
                </a:moveTo>
                <a:lnTo>
                  <a:pt x="1481" y="1030"/>
                </a:lnTo>
                <a:cubicBezTo>
                  <a:pt x="1452" y="1030"/>
                  <a:pt x="1428" y="1006"/>
                  <a:pt x="1428" y="976"/>
                </a:cubicBezTo>
                <a:lnTo>
                  <a:pt x="1428" y="947"/>
                </a:lnTo>
                <a:cubicBezTo>
                  <a:pt x="1428" y="917"/>
                  <a:pt x="1452" y="893"/>
                  <a:pt x="1481" y="893"/>
                </a:cubicBezTo>
                <a:lnTo>
                  <a:pt x="1511" y="893"/>
                </a:lnTo>
                <a:cubicBezTo>
                  <a:pt x="1541" y="893"/>
                  <a:pt x="1565" y="917"/>
                  <a:pt x="1565" y="947"/>
                </a:cubicBezTo>
                <a:lnTo>
                  <a:pt x="1565" y="976"/>
                </a:lnTo>
                <a:cubicBezTo>
                  <a:pt x="1565" y="1006"/>
                  <a:pt x="1541" y="1030"/>
                  <a:pt x="1511" y="1030"/>
                </a:cubicBezTo>
                <a:close/>
                <a:moveTo>
                  <a:pt x="1236" y="1030"/>
                </a:moveTo>
                <a:lnTo>
                  <a:pt x="1207" y="1030"/>
                </a:lnTo>
                <a:cubicBezTo>
                  <a:pt x="1177" y="1030"/>
                  <a:pt x="1153" y="1006"/>
                  <a:pt x="1153" y="976"/>
                </a:cubicBezTo>
                <a:lnTo>
                  <a:pt x="1153" y="947"/>
                </a:lnTo>
                <a:cubicBezTo>
                  <a:pt x="1153" y="917"/>
                  <a:pt x="1177" y="893"/>
                  <a:pt x="1207" y="893"/>
                </a:cubicBezTo>
                <a:lnTo>
                  <a:pt x="1236" y="893"/>
                </a:lnTo>
                <a:cubicBezTo>
                  <a:pt x="1266" y="893"/>
                  <a:pt x="1290" y="917"/>
                  <a:pt x="1290" y="947"/>
                </a:cubicBezTo>
                <a:lnTo>
                  <a:pt x="1290" y="976"/>
                </a:lnTo>
                <a:cubicBezTo>
                  <a:pt x="1290" y="1006"/>
                  <a:pt x="1266" y="1030"/>
                  <a:pt x="1236" y="1030"/>
                </a:cubicBezTo>
                <a:close/>
                <a:moveTo>
                  <a:pt x="962" y="1030"/>
                </a:moveTo>
                <a:lnTo>
                  <a:pt x="932" y="1030"/>
                </a:lnTo>
                <a:cubicBezTo>
                  <a:pt x="903" y="1030"/>
                  <a:pt x="879" y="1006"/>
                  <a:pt x="879" y="976"/>
                </a:cubicBezTo>
                <a:lnTo>
                  <a:pt x="879" y="947"/>
                </a:lnTo>
                <a:cubicBezTo>
                  <a:pt x="879" y="917"/>
                  <a:pt x="903" y="893"/>
                  <a:pt x="932" y="893"/>
                </a:cubicBezTo>
                <a:lnTo>
                  <a:pt x="962" y="893"/>
                </a:lnTo>
                <a:cubicBezTo>
                  <a:pt x="992" y="893"/>
                  <a:pt x="1016" y="917"/>
                  <a:pt x="1016" y="947"/>
                </a:cubicBezTo>
                <a:lnTo>
                  <a:pt x="1016" y="976"/>
                </a:lnTo>
                <a:cubicBezTo>
                  <a:pt x="1016" y="1006"/>
                  <a:pt x="992" y="1030"/>
                  <a:pt x="962" y="1030"/>
                </a:cubicBezTo>
                <a:close/>
                <a:moveTo>
                  <a:pt x="687" y="1030"/>
                </a:moveTo>
                <a:lnTo>
                  <a:pt x="658" y="1030"/>
                </a:lnTo>
                <a:cubicBezTo>
                  <a:pt x="628" y="1030"/>
                  <a:pt x="604" y="1006"/>
                  <a:pt x="604" y="976"/>
                </a:cubicBezTo>
                <a:lnTo>
                  <a:pt x="604" y="947"/>
                </a:lnTo>
                <a:cubicBezTo>
                  <a:pt x="604" y="917"/>
                  <a:pt x="628" y="893"/>
                  <a:pt x="658" y="893"/>
                </a:cubicBezTo>
                <a:lnTo>
                  <a:pt x="687" y="893"/>
                </a:lnTo>
                <a:cubicBezTo>
                  <a:pt x="717" y="893"/>
                  <a:pt x="741" y="917"/>
                  <a:pt x="741" y="947"/>
                </a:cubicBezTo>
                <a:lnTo>
                  <a:pt x="741" y="976"/>
                </a:lnTo>
                <a:cubicBezTo>
                  <a:pt x="741" y="1006"/>
                  <a:pt x="717" y="1030"/>
                  <a:pt x="687" y="1030"/>
                </a:cubicBezTo>
                <a:close/>
                <a:moveTo>
                  <a:pt x="1511" y="1304"/>
                </a:moveTo>
                <a:lnTo>
                  <a:pt x="1481" y="1304"/>
                </a:lnTo>
                <a:cubicBezTo>
                  <a:pt x="1452" y="1304"/>
                  <a:pt x="1428" y="1280"/>
                  <a:pt x="1428" y="1251"/>
                </a:cubicBezTo>
                <a:lnTo>
                  <a:pt x="1428" y="1221"/>
                </a:lnTo>
                <a:cubicBezTo>
                  <a:pt x="1428" y="1192"/>
                  <a:pt x="1452" y="1168"/>
                  <a:pt x="1481" y="1168"/>
                </a:cubicBezTo>
                <a:lnTo>
                  <a:pt x="1511" y="1168"/>
                </a:lnTo>
                <a:cubicBezTo>
                  <a:pt x="1541" y="1168"/>
                  <a:pt x="1565" y="1192"/>
                  <a:pt x="1565" y="1221"/>
                </a:cubicBezTo>
                <a:lnTo>
                  <a:pt x="1565" y="1251"/>
                </a:lnTo>
                <a:cubicBezTo>
                  <a:pt x="1565" y="1280"/>
                  <a:pt x="1541" y="1304"/>
                  <a:pt x="1511" y="1304"/>
                </a:cubicBezTo>
                <a:close/>
                <a:moveTo>
                  <a:pt x="1236" y="1304"/>
                </a:moveTo>
                <a:lnTo>
                  <a:pt x="1207" y="1304"/>
                </a:lnTo>
                <a:cubicBezTo>
                  <a:pt x="1177" y="1304"/>
                  <a:pt x="1153" y="1280"/>
                  <a:pt x="1153" y="1251"/>
                </a:cubicBezTo>
                <a:lnTo>
                  <a:pt x="1153" y="1221"/>
                </a:lnTo>
                <a:cubicBezTo>
                  <a:pt x="1153" y="1192"/>
                  <a:pt x="1177" y="1168"/>
                  <a:pt x="1207" y="1168"/>
                </a:cubicBezTo>
                <a:lnTo>
                  <a:pt x="1236" y="1168"/>
                </a:lnTo>
                <a:cubicBezTo>
                  <a:pt x="1266" y="1168"/>
                  <a:pt x="1290" y="1192"/>
                  <a:pt x="1290" y="1221"/>
                </a:cubicBezTo>
                <a:lnTo>
                  <a:pt x="1290" y="1251"/>
                </a:lnTo>
                <a:cubicBezTo>
                  <a:pt x="1290" y="1280"/>
                  <a:pt x="1266" y="1304"/>
                  <a:pt x="1236" y="1304"/>
                </a:cubicBezTo>
                <a:close/>
                <a:moveTo>
                  <a:pt x="962" y="1304"/>
                </a:moveTo>
                <a:lnTo>
                  <a:pt x="932" y="1304"/>
                </a:lnTo>
                <a:cubicBezTo>
                  <a:pt x="903" y="1304"/>
                  <a:pt x="879" y="1280"/>
                  <a:pt x="879" y="1251"/>
                </a:cubicBezTo>
                <a:lnTo>
                  <a:pt x="879" y="1221"/>
                </a:lnTo>
                <a:cubicBezTo>
                  <a:pt x="879" y="1192"/>
                  <a:pt x="903" y="1168"/>
                  <a:pt x="932" y="1168"/>
                </a:cubicBezTo>
                <a:lnTo>
                  <a:pt x="962" y="1168"/>
                </a:lnTo>
                <a:cubicBezTo>
                  <a:pt x="992" y="1168"/>
                  <a:pt x="1016" y="1192"/>
                  <a:pt x="1016" y="1221"/>
                </a:cubicBezTo>
                <a:lnTo>
                  <a:pt x="1016" y="1251"/>
                </a:lnTo>
                <a:cubicBezTo>
                  <a:pt x="1016" y="1280"/>
                  <a:pt x="992" y="1304"/>
                  <a:pt x="962" y="1304"/>
                </a:cubicBezTo>
                <a:close/>
                <a:moveTo>
                  <a:pt x="413" y="1304"/>
                </a:moveTo>
                <a:lnTo>
                  <a:pt x="383" y="1304"/>
                </a:lnTo>
                <a:cubicBezTo>
                  <a:pt x="353" y="1304"/>
                  <a:pt x="329" y="1280"/>
                  <a:pt x="329" y="1251"/>
                </a:cubicBezTo>
                <a:lnTo>
                  <a:pt x="329" y="1221"/>
                </a:lnTo>
                <a:cubicBezTo>
                  <a:pt x="329" y="1192"/>
                  <a:pt x="353" y="1168"/>
                  <a:pt x="383" y="1168"/>
                </a:cubicBezTo>
                <a:lnTo>
                  <a:pt x="413" y="1168"/>
                </a:lnTo>
                <a:cubicBezTo>
                  <a:pt x="442" y="1168"/>
                  <a:pt x="466" y="1192"/>
                  <a:pt x="466" y="1221"/>
                </a:cubicBezTo>
                <a:lnTo>
                  <a:pt x="466" y="1251"/>
                </a:lnTo>
                <a:cubicBezTo>
                  <a:pt x="466" y="1280"/>
                  <a:pt x="442" y="1304"/>
                  <a:pt x="413" y="1304"/>
                </a:cubicBezTo>
                <a:close/>
                <a:moveTo>
                  <a:pt x="687" y="1304"/>
                </a:moveTo>
                <a:lnTo>
                  <a:pt x="658" y="1304"/>
                </a:lnTo>
                <a:cubicBezTo>
                  <a:pt x="628" y="1304"/>
                  <a:pt x="604" y="1280"/>
                  <a:pt x="604" y="1251"/>
                </a:cubicBezTo>
                <a:lnTo>
                  <a:pt x="604" y="1221"/>
                </a:lnTo>
                <a:cubicBezTo>
                  <a:pt x="604" y="1192"/>
                  <a:pt x="628" y="1168"/>
                  <a:pt x="658" y="1168"/>
                </a:cubicBezTo>
                <a:lnTo>
                  <a:pt x="687" y="1168"/>
                </a:lnTo>
                <a:cubicBezTo>
                  <a:pt x="717" y="1168"/>
                  <a:pt x="741" y="1192"/>
                  <a:pt x="741" y="1221"/>
                </a:cubicBezTo>
                <a:lnTo>
                  <a:pt x="741" y="1251"/>
                </a:lnTo>
                <a:cubicBezTo>
                  <a:pt x="741" y="1280"/>
                  <a:pt x="717" y="1304"/>
                  <a:pt x="687" y="1304"/>
                </a:cubicBezTo>
                <a:close/>
                <a:moveTo>
                  <a:pt x="953" y="0"/>
                </a:moveTo>
                <a:lnTo>
                  <a:pt x="953" y="400"/>
                </a:lnTo>
                <a:lnTo>
                  <a:pt x="845" y="400"/>
                </a:lnTo>
                <a:lnTo>
                  <a:pt x="845" y="238"/>
                </a:lnTo>
                <a:lnTo>
                  <a:pt x="645" y="238"/>
                </a:lnTo>
                <a:lnTo>
                  <a:pt x="645" y="131"/>
                </a:lnTo>
                <a:lnTo>
                  <a:pt x="845" y="131"/>
                </a:lnTo>
                <a:lnTo>
                  <a:pt x="845" y="0"/>
                </a:lnTo>
                <a:lnTo>
                  <a:pt x="953" y="0"/>
                </a:lnTo>
                <a:close/>
                <a:moveTo>
                  <a:pt x="1404" y="0"/>
                </a:moveTo>
                <a:lnTo>
                  <a:pt x="1404" y="400"/>
                </a:lnTo>
                <a:lnTo>
                  <a:pt x="1296" y="400"/>
                </a:lnTo>
                <a:lnTo>
                  <a:pt x="1296" y="238"/>
                </a:lnTo>
                <a:lnTo>
                  <a:pt x="1096" y="238"/>
                </a:lnTo>
                <a:lnTo>
                  <a:pt x="1096" y="131"/>
                </a:lnTo>
                <a:lnTo>
                  <a:pt x="1296" y="131"/>
                </a:lnTo>
                <a:lnTo>
                  <a:pt x="1296" y="0"/>
                </a:lnTo>
                <a:lnTo>
                  <a:pt x="1404" y="0"/>
                </a:lnTo>
                <a:close/>
                <a:moveTo>
                  <a:pt x="107" y="729"/>
                </a:moveTo>
                <a:lnTo>
                  <a:pt x="107" y="1707"/>
                </a:lnTo>
                <a:cubicBezTo>
                  <a:pt x="107" y="1721"/>
                  <a:pt x="113" y="1733"/>
                  <a:pt x="122" y="1742"/>
                </a:cubicBezTo>
                <a:cubicBezTo>
                  <a:pt x="131" y="1751"/>
                  <a:pt x="143" y="1757"/>
                  <a:pt x="157" y="1757"/>
                </a:cubicBezTo>
                <a:lnTo>
                  <a:pt x="1737" y="1757"/>
                </a:lnTo>
                <a:cubicBezTo>
                  <a:pt x="1751" y="1757"/>
                  <a:pt x="1763" y="1751"/>
                  <a:pt x="1772" y="1742"/>
                </a:cubicBezTo>
                <a:lnTo>
                  <a:pt x="1772" y="1742"/>
                </a:lnTo>
                <a:lnTo>
                  <a:pt x="1772" y="1742"/>
                </a:lnTo>
                <a:cubicBezTo>
                  <a:pt x="1781" y="1733"/>
                  <a:pt x="1787" y="1721"/>
                  <a:pt x="1787" y="1707"/>
                </a:cubicBezTo>
                <a:lnTo>
                  <a:pt x="1787" y="729"/>
                </a:lnTo>
                <a:lnTo>
                  <a:pt x="107" y="72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65" name="Freeform 6"/>
          <p:cNvSpPr>
            <a:spLocks noEditPoints="1"/>
          </p:cNvSpPr>
          <p:nvPr/>
        </p:nvSpPr>
        <p:spPr bwMode="auto">
          <a:xfrm>
            <a:off x="610450" y="4458758"/>
            <a:ext cx="338950" cy="334766"/>
          </a:xfrm>
          <a:custGeom>
            <a:avLst/>
            <a:gdLst>
              <a:gd name="T0" fmla="*/ 1848 w 1894"/>
              <a:gd name="T1" fmla="*/ 177 h 1864"/>
              <a:gd name="T2" fmla="*/ 1848 w 1894"/>
              <a:gd name="T3" fmla="*/ 1818 h 1864"/>
              <a:gd name="T4" fmla="*/ 157 w 1894"/>
              <a:gd name="T5" fmla="*/ 1864 h 1864"/>
              <a:gd name="T6" fmla="*/ 0 w 1894"/>
              <a:gd name="T7" fmla="*/ 288 h 1864"/>
              <a:gd name="T8" fmla="*/ 46 w 1894"/>
              <a:gd name="T9" fmla="*/ 177 h 1864"/>
              <a:gd name="T10" fmla="*/ 394 w 1894"/>
              <a:gd name="T11" fmla="*/ 0 h 1864"/>
              <a:gd name="T12" fmla="*/ 394 w 1894"/>
              <a:gd name="T13" fmla="*/ 400 h 1864"/>
              <a:gd name="T14" fmla="*/ 122 w 1894"/>
              <a:gd name="T15" fmla="*/ 253 h 1864"/>
              <a:gd name="T16" fmla="*/ 107 w 1894"/>
              <a:gd name="T17" fmla="*/ 621 h 1864"/>
              <a:gd name="T18" fmla="*/ 1772 w 1894"/>
              <a:gd name="T19" fmla="*/ 253 h 1864"/>
              <a:gd name="T20" fmla="*/ 1547 w 1894"/>
              <a:gd name="T21" fmla="*/ 131 h 1864"/>
              <a:gd name="T22" fmla="*/ 1153 w 1894"/>
              <a:gd name="T23" fmla="*/ 1525 h 1864"/>
              <a:gd name="T24" fmla="*/ 1236 w 1894"/>
              <a:gd name="T25" fmla="*/ 1442 h 1864"/>
              <a:gd name="T26" fmla="*/ 1236 w 1894"/>
              <a:gd name="T27" fmla="*/ 1579 h 1864"/>
              <a:gd name="T28" fmla="*/ 879 w 1894"/>
              <a:gd name="T29" fmla="*/ 1525 h 1864"/>
              <a:gd name="T30" fmla="*/ 962 w 1894"/>
              <a:gd name="T31" fmla="*/ 1442 h 1864"/>
              <a:gd name="T32" fmla="*/ 962 w 1894"/>
              <a:gd name="T33" fmla="*/ 1579 h 1864"/>
              <a:gd name="T34" fmla="*/ 329 w 1894"/>
              <a:gd name="T35" fmla="*/ 1525 h 1864"/>
              <a:gd name="T36" fmla="*/ 413 w 1894"/>
              <a:gd name="T37" fmla="*/ 1442 h 1864"/>
              <a:gd name="T38" fmla="*/ 413 w 1894"/>
              <a:gd name="T39" fmla="*/ 1579 h 1864"/>
              <a:gd name="T40" fmla="*/ 604 w 1894"/>
              <a:gd name="T41" fmla="*/ 1525 h 1864"/>
              <a:gd name="T42" fmla="*/ 687 w 1894"/>
              <a:gd name="T43" fmla="*/ 1442 h 1864"/>
              <a:gd name="T44" fmla="*/ 687 w 1894"/>
              <a:gd name="T45" fmla="*/ 1579 h 1864"/>
              <a:gd name="T46" fmla="*/ 1428 w 1894"/>
              <a:gd name="T47" fmla="*/ 976 h 1864"/>
              <a:gd name="T48" fmla="*/ 1511 w 1894"/>
              <a:gd name="T49" fmla="*/ 893 h 1864"/>
              <a:gd name="T50" fmla="*/ 1511 w 1894"/>
              <a:gd name="T51" fmla="*/ 1030 h 1864"/>
              <a:gd name="T52" fmla="*/ 1153 w 1894"/>
              <a:gd name="T53" fmla="*/ 976 h 1864"/>
              <a:gd name="T54" fmla="*/ 1236 w 1894"/>
              <a:gd name="T55" fmla="*/ 893 h 1864"/>
              <a:gd name="T56" fmla="*/ 1236 w 1894"/>
              <a:gd name="T57" fmla="*/ 1030 h 1864"/>
              <a:gd name="T58" fmla="*/ 879 w 1894"/>
              <a:gd name="T59" fmla="*/ 976 h 1864"/>
              <a:gd name="T60" fmla="*/ 962 w 1894"/>
              <a:gd name="T61" fmla="*/ 893 h 1864"/>
              <a:gd name="T62" fmla="*/ 962 w 1894"/>
              <a:gd name="T63" fmla="*/ 1030 h 1864"/>
              <a:gd name="T64" fmla="*/ 604 w 1894"/>
              <a:gd name="T65" fmla="*/ 976 h 1864"/>
              <a:gd name="T66" fmla="*/ 687 w 1894"/>
              <a:gd name="T67" fmla="*/ 893 h 1864"/>
              <a:gd name="T68" fmla="*/ 687 w 1894"/>
              <a:gd name="T69" fmla="*/ 1030 h 1864"/>
              <a:gd name="T70" fmla="*/ 1428 w 1894"/>
              <a:gd name="T71" fmla="*/ 1251 h 1864"/>
              <a:gd name="T72" fmla="*/ 1511 w 1894"/>
              <a:gd name="T73" fmla="*/ 1168 h 1864"/>
              <a:gd name="T74" fmla="*/ 1511 w 1894"/>
              <a:gd name="T75" fmla="*/ 1304 h 1864"/>
              <a:gd name="T76" fmla="*/ 1153 w 1894"/>
              <a:gd name="T77" fmla="*/ 1251 h 1864"/>
              <a:gd name="T78" fmla="*/ 1236 w 1894"/>
              <a:gd name="T79" fmla="*/ 1168 h 1864"/>
              <a:gd name="T80" fmla="*/ 1236 w 1894"/>
              <a:gd name="T81" fmla="*/ 1304 h 1864"/>
              <a:gd name="T82" fmla="*/ 879 w 1894"/>
              <a:gd name="T83" fmla="*/ 1251 h 1864"/>
              <a:gd name="T84" fmla="*/ 962 w 1894"/>
              <a:gd name="T85" fmla="*/ 1168 h 1864"/>
              <a:gd name="T86" fmla="*/ 962 w 1894"/>
              <a:gd name="T87" fmla="*/ 1304 h 1864"/>
              <a:gd name="T88" fmla="*/ 329 w 1894"/>
              <a:gd name="T89" fmla="*/ 1251 h 1864"/>
              <a:gd name="T90" fmla="*/ 413 w 1894"/>
              <a:gd name="T91" fmla="*/ 1168 h 1864"/>
              <a:gd name="T92" fmla="*/ 413 w 1894"/>
              <a:gd name="T93" fmla="*/ 1304 h 1864"/>
              <a:gd name="T94" fmla="*/ 604 w 1894"/>
              <a:gd name="T95" fmla="*/ 1251 h 1864"/>
              <a:gd name="T96" fmla="*/ 687 w 1894"/>
              <a:gd name="T97" fmla="*/ 1168 h 1864"/>
              <a:gd name="T98" fmla="*/ 687 w 1894"/>
              <a:gd name="T99" fmla="*/ 1304 h 1864"/>
              <a:gd name="T100" fmla="*/ 845 w 1894"/>
              <a:gd name="T101" fmla="*/ 400 h 1864"/>
              <a:gd name="T102" fmla="*/ 645 w 1894"/>
              <a:gd name="T103" fmla="*/ 131 h 1864"/>
              <a:gd name="T104" fmla="*/ 953 w 1894"/>
              <a:gd name="T105" fmla="*/ 0 h 1864"/>
              <a:gd name="T106" fmla="*/ 1296 w 1894"/>
              <a:gd name="T107" fmla="*/ 400 h 1864"/>
              <a:gd name="T108" fmla="*/ 1096 w 1894"/>
              <a:gd name="T109" fmla="*/ 131 h 1864"/>
              <a:gd name="T110" fmla="*/ 1404 w 1894"/>
              <a:gd name="T111" fmla="*/ 0 h 1864"/>
              <a:gd name="T112" fmla="*/ 122 w 1894"/>
              <a:gd name="T113" fmla="*/ 1742 h 1864"/>
              <a:gd name="T114" fmla="*/ 1772 w 1894"/>
              <a:gd name="T115" fmla="*/ 1742 h 1864"/>
              <a:gd name="T116" fmla="*/ 1787 w 1894"/>
              <a:gd name="T117" fmla="*/ 1707 h 18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894" h="1864">
                <a:moveTo>
                  <a:pt x="1547" y="131"/>
                </a:moveTo>
                <a:lnTo>
                  <a:pt x="1737" y="131"/>
                </a:lnTo>
                <a:cubicBezTo>
                  <a:pt x="1780" y="131"/>
                  <a:pt x="1820" y="149"/>
                  <a:pt x="1848" y="177"/>
                </a:cubicBezTo>
                <a:cubicBezTo>
                  <a:pt x="1876" y="206"/>
                  <a:pt x="1894" y="245"/>
                  <a:pt x="1894" y="288"/>
                </a:cubicBezTo>
                <a:lnTo>
                  <a:pt x="1894" y="1707"/>
                </a:lnTo>
                <a:cubicBezTo>
                  <a:pt x="1894" y="1750"/>
                  <a:pt x="1876" y="1789"/>
                  <a:pt x="1848" y="1818"/>
                </a:cubicBezTo>
                <a:lnTo>
                  <a:pt x="1848" y="1818"/>
                </a:lnTo>
                <a:cubicBezTo>
                  <a:pt x="1820" y="1846"/>
                  <a:pt x="1780" y="1864"/>
                  <a:pt x="1737" y="1864"/>
                </a:cubicBezTo>
                <a:lnTo>
                  <a:pt x="157" y="1864"/>
                </a:lnTo>
                <a:cubicBezTo>
                  <a:pt x="114" y="1864"/>
                  <a:pt x="74" y="1846"/>
                  <a:pt x="46" y="1818"/>
                </a:cubicBezTo>
                <a:cubicBezTo>
                  <a:pt x="18" y="1789"/>
                  <a:pt x="0" y="1750"/>
                  <a:pt x="0" y="1707"/>
                </a:cubicBezTo>
                <a:lnTo>
                  <a:pt x="0" y="288"/>
                </a:lnTo>
                <a:cubicBezTo>
                  <a:pt x="0" y="245"/>
                  <a:pt x="18" y="206"/>
                  <a:pt x="46" y="177"/>
                </a:cubicBezTo>
                <a:lnTo>
                  <a:pt x="46" y="177"/>
                </a:lnTo>
                <a:lnTo>
                  <a:pt x="46" y="177"/>
                </a:lnTo>
                <a:cubicBezTo>
                  <a:pt x="74" y="149"/>
                  <a:pt x="114" y="131"/>
                  <a:pt x="157" y="131"/>
                </a:cubicBezTo>
                <a:lnTo>
                  <a:pt x="394" y="131"/>
                </a:lnTo>
                <a:lnTo>
                  <a:pt x="394" y="0"/>
                </a:lnTo>
                <a:lnTo>
                  <a:pt x="501" y="0"/>
                </a:lnTo>
                <a:lnTo>
                  <a:pt x="501" y="400"/>
                </a:lnTo>
                <a:lnTo>
                  <a:pt x="394" y="400"/>
                </a:lnTo>
                <a:lnTo>
                  <a:pt x="394" y="238"/>
                </a:lnTo>
                <a:lnTo>
                  <a:pt x="157" y="238"/>
                </a:lnTo>
                <a:cubicBezTo>
                  <a:pt x="143" y="238"/>
                  <a:pt x="131" y="244"/>
                  <a:pt x="122" y="253"/>
                </a:cubicBezTo>
                <a:lnTo>
                  <a:pt x="122" y="253"/>
                </a:lnTo>
                <a:cubicBezTo>
                  <a:pt x="113" y="262"/>
                  <a:pt x="107" y="274"/>
                  <a:pt x="107" y="288"/>
                </a:cubicBezTo>
                <a:lnTo>
                  <a:pt x="107" y="621"/>
                </a:lnTo>
                <a:lnTo>
                  <a:pt x="1787" y="621"/>
                </a:lnTo>
                <a:lnTo>
                  <a:pt x="1787" y="288"/>
                </a:lnTo>
                <a:cubicBezTo>
                  <a:pt x="1787" y="274"/>
                  <a:pt x="1781" y="262"/>
                  <a:pt x="1772" y="253"/>
                </a:cubicBezTo>
                <a:cubicBezTo>
                  <a:pt x="1763" y="244"/>
                  <a:pt x="1751" y="238"/>
                  <a:pt x="1737" y="238"/>
                </a:cubicBezTo>
                <a:lnTo>
                  <a:pt x="1547" y="238"/>
                </a:lnTo>
                <a:lnTo>
                  <a:pt x="1547" y="131"/>
                </a:lnTo>
                <a:close/>
                <a:moveTo>
                  <a:pt x="1236" y="1579"/>
                </a:moveTo>
                <a:lnTo>
                  <a:pt x="1207" y="1579"/>
                </a:lnTo>
                <a:cubicBezTo>
                  <a:pt x="1177" y="1579"/>
                  <a:pt x="1153" y="1555"/>
                  <a:pt x="1153" y="1525"/>
                </a:cubicBezTo>
                <a:lnTo>
                  <a:pt x="1153" y="1496"/>
                </a:lnTo>
                <a:cubicBezTo>
                  <a:pt x="1153" y="1466"/>
                  <a:pt x="1177" y="1442"/>
                  <a:pt x="1207" y="1442"/>
                </a:cubicBezTo>
                <a:lnTo>
                  <a:pt x="1236" y="1442"/>
                </a:lnTo>
                <a:cubicBezTo>
                  <a:pt x="1266" y="1442"/>
                  <a:pt x="1290" y="1466"/>
                  <a:pt x="1290" y="1496"/>
                </a:cubicBezTo>
                <a:lnTo>
                  <a:pt x="1290" y="1525"/>
                </a:lnTo>
                <a:cubicBezTo>
                  <a:pt x="1290" y="1555"/>
                  <a:pt x="1266" y="1579"/>
                  <a:pt x="1236" y="1579"/>
                </a:cubicBezTo>
                <a:close/>
                <a:moveTo>
                  <a:pt x="962" y="1579"/>
                </a:moveTo>
                <a:lnTo>
                  <a:pt x="932" y="1579"/>
                </a:lnTo>
                <a:cubicBezTo>
                  <a:pt x="903" y="1579"/>
                  <a:pt x="879" y="1555"/>
                  <a:pt x="879" y="1525"/>
                </a:cubicBezTo>
                <a:lnTo>
                  <a:pt x="879" y="1496"/>
                </a:lnTo>
                <a:cubicBezTo>
                  <a:pt x="879" y="1466"/>
                  <a:pt x="903" y="1442"/>
                  <a:pt x="932" y="1442"/>
                </a:cubicBezTo>
                <a:lnTo>
                  <a:pt x="962" y="1442"/>
                </a:lnTo>
                <a:cubicBezTo>
                  <a:pt x="992" y="1442"/>
                  <a:pt x="1016" y="1466"/>
                  <a:pt x="1016" y="1496"/>
                </a:cubicBezTo>
                <a:lnTo>
                  <a:pt x="1016" y="1525"/>
                </a:lnTo>
                <a:cubicBezTo>
                  <a:pt x="1016" y="1555"/>
                  <a:pt x="992" y="1579"/>
                  <a:pt x="962" y="1579"/>
                </a:cubicBezTo>
                <a:close/>
                <a:moveTo>
                  <a:pt x="413" y="1579"/>
                </a:moveTo>
                <a:lnTo>
                  <a:pt x="383" y="1579"/>
                </a:lnTo>
                <a:cubicBezTo>
                  <a:pt x="353" y="1579"/>
                  <a:pt x="329" y="1555"/>
                  <a:pt x="329" y="1525"/>
                </a:cubicBezTo>
                <a:lnTo>
                  <a:pt x="329" y="1496"/>
                </a:lnTo>
                <a:cubicBezTo>
                  <a:pt x="329" y="1466"/>
                  <a:pt x="353" y="1442"/>
                  <a:pt x="383" y="1442"/>
                </a:cubicBezTo>
                <a:lnTo>
                  <a:pt x="413" y="1442"/>
                </a:lnTo>
                <a:cubicBezTo>
                  <a:pt x="442" y="1442"/>
                  <a:pt x="466" y="1466"/>
                  <a:pt x="466" y="1496"/>
                </a:cubicBezTo>
                <a:lnTo>
                  <a:pt x="466" y="1525"/>
                </a:lnTo>
                <a:cubicBezTo>
                  <a:pt x="466" y="1555"/>
                  <a:pt x="442" y="1579"/>
                  <a:pt x="413" y="1579"/>
                </a:cubicBezTo>
                <a:close/>
                <a:moveTo>
                  <a:pt x="687" y="1579"/>
                </a:moveTo>
                <a:lnTo>
                  <a:pt x="658" y="1579"/>
                </a:lnTo>
                <a:cubicBezTo>
                  <a:pt x="628" y="1579"/>
                  <a:pt x="604" y="1555"/>
                  <a:pt x="604" y="1525"/>
                </a:cubicBezTo>
                <a:lnTo>
                  <a:pt x="604" y="1496"/>
                </a:lnTo>
                <a:cubicBezTo>
                  <a:pt x="604" y="1466"/>
                  <a:pt x="628" y="1442"/>
                  <a:pt x="658" y="1442"/>
                </a:cubicBezTo>
                <a:lnTo>
                  <a:pt x="687" y="1442"/>
                </a:lnTo>
                <a:cubicBezTo>
                  <a:pt x="717" y="1442"/>
                  <a:pt x="741" y="1466"/>
                  <a:pt x="741" y="1496"/>
                </a:cubicBezTo>
                <a:lnTo>
                  <a:pt x="741" y="1525"/>
                </a:lnTo>
                <a:cubicBezTo>
                  <a:pt x="741" y="1555"/>
                  <a:pt x="717" y="1579"/>
                  <a:pt x="687" y="1579"/>
                </a:cubicBezTo>
                <a:close/>
                <a:moveTo>
                  <a:pt x="1511" y="1030"/>
                </a:moveTo>
                <a:lnTo>
                  <a:pt x="1481" y="1030"/>
                </a:lnTo>
                <a:cubicBezTo>
                  <a:pt x="1452" y="1030"/>
                  <a:pt x="1428" y="1006"/>
                  <a:pt x="1428" y="976"/>
                </a:cubicBezTo>
                <a:lnTo>
                  <a:pt x="1428" y="947"/>
                </a:lnTo>
                <a:cubicBezTo>
                  <a:pt x="1428" y="917"/>
                  <a:pt x="1452" y="893"/>
                  <a:pt x="1481" y="893"/>
                </a:cubicBezTo>
                <a:lnTo>
                  <a:pt x="1511" y="893"/>
                </a:lnTo>
                <a:cubicBezTo>
                  <a:pt x="1541" y="893"/>
                  <a:pt x="1565" y="917"/>
                  <a:pt x="1565" y="947"/>
                </a:cubicBezTo>
                <a:lnTo>
                  <a:pt x="1565" y="976"/>
                </a:lnTo>
                <a:cubicBezTo>
                  <a:pt x="1565" y="1006"/>
                  <a:pt x="1541" y="1030"/>
                  <a:pt x="1511" y="1030"/>
                </a:cubicBezTo>
                <a:close/>
                <a:moveTo>
                  <a:pt x="1236" y="1030"/>
                </a:moveTo>
                <a:lnTo>
                  <a:pt x="1207" y="1030"/>
                </a:lnTo>
                <a:cubicBezTo>
                  <a:pt x="1177" y="1030"/>
                  <a:pt x="1153" y="1006"/>
                  <a:pt x="1153" y="976"/>
                </a:cubicBezTo>
                <a:lnTo>
                  <a:pt x="1153" y="947"/>
                </a:lnTo>
                <a:cubicBezTo>
                  <a:pt x="1153" y="917"/>
                  <a:pt x="1177" y="893"/>
                  <a:pt x="1207" y="893"/>
                </a:cubicBezTo>
                <a:lnTo>
                  <a:pt x="1236" y="893"/>
                </a:lnTo>
                <a:cubicBezTo>
                  <a:pt x="1266" y="893"/>
                  <a:pt x="1290" y="917"/>
                  <a:pt x="1290" y="947"/>
                </a:cubicBezTo>
                <a:lnTo>
                  <a:pt x="1290" y="976"/>
                </a:lnTo>
                <a:cubicBezTo>
                  <a:pt x="1290" y="1006"/>
                  <a:pt x="1266" y="1030"/>
                  <a:pt x="1236" y="1030"/>
                </a:cubicBezTo>
                <a:close/>
                <a:moveTo>
                  <a:pt x="962" y="1030"/>
                </a:moveTo>
                <a:lnTo>
                  <a:pt x="932" y="1030"/>
                </a:lnTo>
                <a:cubicBezTo>
                  <a:pt x="903" y="1030"/>
                  <a:pt x="879" y="1006"/>
                  <a:pt x="879" y="976"/>
                </a:cubicBezTo>
                <a:lnTo>
                  <a:pt x="879" y="947"/>
                </a:lnTo>
                <a:cubicBezTo>
                  <a:pt x="879" y="917"/>
                  <a:pt x="903" y="893"/>
                  <a:pt x="932" y="893"/>
                </a:cubicBezTo>
                <a:lnTo>
                  <a:pt x="962" y="893"/>
                </a:lnTo>
                <a:cubicBezTo>
                  <a:pt x="992" y="893"/>
                  <a:pt x="1016" y="917"/>
                  <a:pt x="1016" y="947"/>
                </a:cubicBezTo>
                <a:lnTo>
                  <a:pt x="1016" y="976"/>
                </a:lnTo>
                <a:cubicBezTo>
                  <a:pt x="1016" y="1006"/>
                  <a:pt x="992" y="1030"/>
                  <a:pt x="962" y="1030"/>
                </a:cubicBezTo>
                <a:close/>
                <a:moveTo>
                  <a:pt x="687" y="1030"/>
                </a:moveTo>
                <a:lnTo>
                  <a:pt x="658" y="1030"/>
                </a:lnTo>
                <a:cubicBezTo>
                  <a:pt x="628" y="1030"/>
                  <a:pt x="604" y="1006"/>
                  <a:pt x="604" y="976"/>
                </a:cubicBezTo>
                <a:lnTo>
                  <a:pt x="604" y="947"/>
                </a:lnTo>
                <a:cubicBezTo>
                  <a:pt x="604" y="917"/>
                  <a:pt x="628" y="893"/>
                  <a:pt x="658" y="893"/>
                </a:cubicBezTo>
                <a:lnTo>
                  <a:pt x="687" y="893"/>
                </a:lnTo>
                <a:cubicBezTo>
                  <a:pt x="717" y="893"/>
                  <a:pt x="741" y="917"/>
                  <a:pt x="741" y="947"/>
                </a:cubicBezTo>
                <a:lnTo>
                  <a:pt x="741" y="976"/>
                </a:lnTo>
                <a:cubicBezTo>
                  <a:pt x="741" y="1006"/>
                  <a:pt x="717" y="1030"/>
                  <a:pt x="687" y="1030"/>
                </a:cubicBezTo>
                <a:close/>
                <a:moveTo>
                  <a:pt x="1511" y="1304"/>
                </a:moveTo>
                <a:lnTo>
                  <a:pt x="1481" y="1304"/>
                </a:lnTo>
                <a:cubicBezTo>
                  <a:pt x="1452" y="1304"/>
                  <a:pt x="1428" y="1280"/>
                  <a:pt x="1428" y="1251"/>
                </a:cubicBezTo>
                <a:lnTo>
                  <a:pt x="1428" y="1221"/>
                </a:lnTo>
                <a:cubicBezTo>
                  <a:pt x="1428" y="1192"/>
                  <a:pt x="1452" y="1168"/>
                  <a:pt x="1481" y="1168"/>
                </a:cubicBezTo>
                <a:lnTo>
                  <a:pt x="1511" y="1168"/>
                </a:lnTo>
                <a:cubicBezTo>
                  <a:pt x="1541" y="1168"/>
                  <a:pt x="1565" y="1192"/>
                  <a:pt x="1565" y="1221"/>
                </a:cubicBezTo>
                <a:lnTo>
                  <a:pt x="1565" y="1251"/>
                </a:lnTo>
                <a:cubicBezTo>
                  <a:pt x="1565" y="1280"/>
                  <a:pt x="1541" y="1304"/>
                  <a:pt x="1511" y="1304"/>
                </a:cubicBezTo>
                <a:close/>
                <a:moveTo>
                  <a:pt x="1236" y="1304"/>
                </a:moveTo>
                <a:lnTo>
                  <a:pt x="1207" y="1304"/>
                </a:lnTo>
                <a:cubicBezTo>
                  <a:pt x="1177" y="1304"/>
                  <a:pt x="1153" y="1280"/>
                  <a:pt x="1153" y="1251"/>
                </a:cubicBezTo>
                <a:lnTo>
                  <a:pt x="1153" y="1221"/>
                </a:lnTo>
                <a:cubicBezTo>
                  <a:pt x="1153" y="1192"/>
                  <a:pt x="1177" y="1168"/>
                  <a:pt x="1207" y="1168"/>
                </a:cubicBezTo>
                <a:lnTo>
                  <a:pt x="1236" y="1168"/>
                </a:lnTo>
                <a:cubicBezTo>
                  <a:pt x="1266" y="1168"/>
                  <a:pt x="1290" y="1192"/>
                  <a:pt x="1290" y="1221"/>
                </a:cubicBezTo>
                <a:lnTo>
                  <a:pt x="1290" y="1251"/>
                </a:lnTo>
                <a:cubicBezTo>
                  <a:pt x="1290" y="1280"/>
                  <a:pt x="1266" y="1304"/>
                  <a:pt x="1236" y="1304"/>
                </a:cubicBezTo>
                <a:close/>
                <a:moveTo>
                  <a:pt x="962" y="1304"/>
                </a:moveTo>
                <a:lnTo>
                  <a:pt x="932" y="1304"/>
                </a:lnTo>
                <a:cubicBezTo>
                  <a:pt x="903" y="1304"/>
                  <a:pt x="879" y="1280"/>
                  <a:pt x="879" y="1251"/>
                </a:cubicBezTo>
                <a:lnTo>
                  <a:pt x="879" y="1221"/>
                </a:lnTo>
                <a:cubicBezTo>
                  <a:pt x="879" y="1192"/>
                  <a:pt x="903" y="1168"/>
                  <a:pt x="932" y="1168"/>
                </a:cubicBezTo>
                <a:lnTo>
                  <a:pt x="962" y="1168"/>
                </a:lnTo>
                <a:cubicBezTo>
                  <a:pt x="992" y="1168"/>
                  <a:pt x="1016" y="1192"/>
                  <a:pt x="1016" y="1221"/>
                </a:cubicBezTo>
                <a:lnTo>
                  <a:pt x="1016" y="1251"/>
                </a:lnTo>
                <a:cubicBezTo>
                  <a:pt x="1016" y="1280"/>
                  <a:pt x="992" y="1304"/>
                  <a:pt x="962" y="1304"/>
                </a:cubicBezTo>
                <a:close/>
                <a:moveTo>
                  <a:pt x="413" y="1304"/>
                </a:moveTo>
                <a:lnTo>
                  <a:pt x="383" y="1304"/>
                </a:lnTo>
                <a:cubicBezTo>
                  <a:pt x="353" y="1304"/>
                  <a:pt x="329" y="1280"/>
                  <a:pt x="329" y="1251"/>
                </a:cubicBezTo>
                <a:lnTo>
                  <a:pt x="329" y="1221"/>
                </a:lnTo>
                <a:cubicBezTo>
                  <a:pt x="329" y="1192"/>
                  <a:pt x="353" y="1168"/>
                  <a:pt x="383" y="1168"/>
                </a:cubicBezTo>
                <a:lnTo>
                  <a:pt x="413" y="1168"/>
                </a:lnTo>
                <a:cubicBezTo>
                  <a:pt x="442" y="1168"/>
                  <a:pt x="466" y="1192"/>
                  <a:pt x="466" y="1221"/>
                </a:cubicBezTo>
                <a:lnTo>
                  <a:pt x="466" y="1251"/>
                </a:lnTo>
                <a:cubicBezTo>
                  <a:pt x="466" y="1280"/>
                  <a:pt x="442" y="1304"/>
                  <a:pt x="413" y="1304"/>
                </a:cubicBezTo>
                <a:close/>
                <a:moveTo>
                  <a:pt x="687" y="1304"/>
                </a:moveTo>
                <a:lnTo>
                  <a:pt x="658" y="1304"/>
                </a:lnTo>
                <a:cubicBezTo>
                  <a:pt x="628" y="1304"/>
                  <a:pt x="604" y="1280"/>
                  <a:pt x="604" y="1251"/>
                </a:cubicBezTo>
                <a:lnTo>
                  <a:pt x="604" y="1221"/>
                </a:lnTo>
                <a:cubicBezTo>
                  <a:pt x="604" y="1192"/>
                  <a:pt x="628" y="1168"/>
                  <a:pt x="658" y="1168"/>
                </a:cubicBezTo>
                <a:lnTo>
                  <a:pt x="687" y="1168"/>
                </a:lnTo>
                <a:cubicBezTo>
                  <a:pt x="717" y="1168"/>
                  <a:pt x="741" y="1192"/>
                  <a:pt x="741" y="1221"/>
                </a:cubicBezTo>
                <a:lnTo>
                  <a:pt x="741" y="1251"/>
                </a:lnTo>
                <a:cubicBezTo>
                  <a:pt x="741" y="1280"/>
                  <a:pt x="717" y="1304"/>
                  <a:pt x="687" y="1304"/>
                </a:cubicBezTo>
                <a:close/>
                <a:moveTo>
                  <a:pt x="953" y="0"/>
                </a:moveTo>
                <a:lnTo>
                  <a:pt x="953" y="400"/>
                </a:lnTo>
                <a:lnTo>
                  <a:pt x="845" y="400"/>
                </a:lnTo>
                <a:lnTo>
                  <a:pt x="845" y="238"/>
                </a:lnTo>
                <a:lnTo>
                  <a:pt x="645" y="238"/>
                </a:lnTo>
                <a:lnTo>
                  <a:pt x="645" y="131"/>
                </a:lnTo>
                <a:lnTo>
                  <a:pt x="845" y="131"/>
                </a:lnTo>
                <a:lnTo>
                  <a:pt x="845" y="0"/>
                </a:lnTo>
                <a:lnTo>
                  <a:pt x="953" y="0"/>
                </a:lnTo>
                <a:close/>
                <a:moveTo>
                  <a:pt x="1404" y="0"/>
                </a:moveTo>
                <a:lnTo>
                  <a:pt x="1404" y="400"/>
                </a:lnTo>
                <a:lnTo>
                  <a:pt x="1296" y="400"/>
                </a:lnTo>
                <a:lnTo>
                  <a:pt x="1296" y="238"/>
                </a:lnTo>
                <a:lnTo>
                  <a:pt x="1096" y="238"/>
                </a:lnTo>
                <a:lnTo>
                  <a:pt x="1096" y="131"/>
                </a:lnTo>
                <a:lnTo>
                  <a:pt x="1296" y="131"/>
                </a:lnTo>
                <a:lnTo>
                  <a:pt x="1296" y="0"/>
                </a:lnTo>
                <a:lnTo>
                  <a:pt x="1404" y="0"/>
                </a:lnTo>
                <a:close/>
                <a:moveTo>
                  <a:pt x="107" y="729"/>
                </a:moveTo>
                <a:lnTo>
                  <a:pt x="107" y="1707"/>
                </a:lnTo>
                <a:cubicBezTo>
                  <a:pt x="107" y="1721"/>
                  <a:pt x="113" y="1733"/>
                  <a:pt x="122" y="1742"/>
                </a:cubicBezTo>
                <a:cubicBezTo>
                  <a:pt x="131" y="1751"/>
                  <a:pt x="143" y="1757"/>
                  <a:pt x="157" y="1757"/>
                </a:cubicBezTo>
                <a:lnTo>
                  <a:pt x="1737" y="1757"/>
                </a:lnTo>
                <a:cubicBezTo>
                  <a:pt x="1751" y="1757"/>
                  <a:pt x="1763" y="1751"/>
                  <a:pt x="1772" y="1742"/>
                </a:cubicBezTo>
                <a:lnTo>
                  <a:pt x="1772" y="1742"/>
                </a:lnTo>
                <a:lnTo>
                  <a:pt x="1772" y="1742"/>
                </a:lnTo>
                <a:cubicBezTo>
                  <a:pt x="1781" y="1733"/>
                  <a:pt x="1787" y="1721"/>
                  <a:pt x="1787" y="1707"/>
                </a:cubicBezTo>
                <a:lnTo>
                  <a:pt x="1787" y="729"/>
                </a:lnTo>
                <a:lnTo>
                  <a:pt x="107" y="72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67" name="Прямоугольник 66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1873319" y="352674"/>
            <a:ext cx="10029387" cy="3277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b="1" dirty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Серия </a:t>
            </a:r>
            <a:r>
              <a:rPr lang="ru-RU" b="1" dirty="0" smtClean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«ФУНКЦИОНАЛЬНАЯ ГРАМОТНОСТЬ. УЧИМСЯ ДЛЯ ЖИЗНИ»</a:t>
            </a:r>
            <a:endParaRPr kumimoji="0" lang="ru-RU" b="1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Open Sans Condensed" pitchFamily="34" charset="0"/>
              <a:ea typeface="Open Sans Condensed" pitchFamily="34" charset="0"/>
              <a:cs typeface="Open Sans Condensed" pitchFamily="34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4"/>
          <a:srcRect l="22751" t="19978" r="45940" b="9935"/>
          <a:stretch/>
        </p:blipFill>
        <p:spPr>
          <a:xfrm>
            <a:off x="343031" y="902834"/>
            <a:ext cx="2578678" cy="3259692"/>
          </a:xfrm>
          <a:prstGeom prst="rect">
            <a:avLst/>
          </a:prstGeom>
          <a:ln>
            <a:solidFill>
              <a:schemeClr val="bg2">
                <a:lumMod val="90000"/>
              </a:schemeClr>
            </a:solidFill>
          </a:ln>
        </p:spPr>
      </p:pic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5"/>
          <a:srcRect l="26636" t="20061" r="47406" b="20154"/>
          <a:stretch/>
        </p:blipFill>
        <p:spPr>
          <a:xfrm>
            <a:off x="740555" y="3729127"/>
            <a:ext cx="2086542" cy="2713704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6"/>
          <a:srcRect l="47891" t="26396" r="28314" b="17331"/>
          <a:stretch/>
        </p:blipFill>
        <p:spPr>
          <a:xfrm>
            <a:off x="3150549" y="915549"/>
            <a:ext cx="2527580" cy="3375488"/>
          </a:xfrm>
          <a:prstGeom prst="rect">
            <a:avLst/>
          </a:prstGeom>
          <a:ln>
            <a:solidFill>
              <a:schemeClr val="bg2">
                <a:lumMod val="90000"/>
              </a:schemeClr>
            </a:solidFill>
          </a:ln>
        </p:spPr>
      </p:pic>
      <p:pic>
        <p:nvPicPr>
          <p:cNvPr id="14" name="Рисунок 13"/>
          <p:cNvPicPr>
            <a:picLocks noChangeAspect="1"/>
          </p:cNvPicPr>
          <p:nvPr/>
        </p:nvPicPr>
        <p:blipFill rotWithShape="1">
          <a:blip r:embed="rId7"/>
          <a:srcRect l="22957" t="28257" r="53020" b="37965"/>
          <a:stretch/>
        </p:blipFill>
        <p:spPr>
          <a:xfrm>
            <a:off x="2737194" y="4292940"/>
            <a:ext cx="2511416" cy="1994100"/>
          </a:xfrm>
          <a:prstGeom prst="rect">
            <a:avLst/>
          </a:prstGeom>
          <a:ln>
            <a:solidFill>
              <a:schemeClr val="bg2">
                <a:lumMod val="90000"/>
              </a:schemeClr>
            </a:solidFill>
          </a:ln>
        </p:spPr>
      </p:pic>
      <p:pic>
        <p:nvPicPr>
          <p:cNvPr id="15" name="Рисунок 14"/>
          <p:cNvPicPr>
            <a:picLocks noChangeAspect="1"/>
          </p:cNvPicPr>
          <p:nvPr/>
        </p:nvPicPr>
        <p:blipFill rotWithShape="1">
          <a:blip r:embed="rId8"/>
          <a:srcRect l="25605" t="28459" r="53560" b="29395"/>
          <a:stretch/>
        </p:blipFill>
        <p:spPr>
          <a:xfrm>
            <a:off x="5275651" y="4366907"/>
            <a:ext cx="1919957" cy="2193218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 rotWithShape="1">
          <a:blip r:embed="rId9"/>
          <a:srcRect l="47647" t="27808" r="29127" b="18159"/>
          <a:stretch/>
        </p:blipFill>
        <p:spPr>
          <a:xfrm>
            <a:off x="6147588" y="927534"/>
            <a:ext cx="2617984" cy="3439373"/>
          </a:xfrm>
          <a:prstGeom prst="rect">
            <a:avLst/>
          </a:prstGeom>
          <a:ln>
            <a:solidFill>
              <a:schemeClr val="bg2">
                <a:lumMod val="90000"/>
              </a:schemeClr>
            </a:solidFill>
          </a:ln>
        </p:spPr>
      </p:pic>
      <p:pic>
        <p:nvPicPr>
          <p:cNvPr id="17" name="Рисунок 16"/>
          <p:cNvPicPr>
            <a:picLocks noChangeAspect="1"/>
          </p:cNvPicPr>
          <p:nvPr/>
        </p:nvPicPr>
        <p:blipFill rotWithShape="1">
          <a:blip r:embed="rId10"/>
          <a:srcRect l="23645" t="52781" r="53015" b="20868"/>
          <a:stretch/>
        </p:blipFill>
        <p:spPr>
          <a:xfrm>
            <a:off x="7339890" y="4458758"/>
            <a:ext cx="3023419" cy="1927652"/>
          </a:xfrm>
          <a:prstGeom prst="rect">
            <a:avLst/>
          </a:prstGeom>
        </p:spPr>
      </p:pic>
      <p:pic>
        <p:nvPicPr>
          <p:cNvPr id="78" name="Рисунок 77"/>
          <p:cNvPicPr/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54135" y="900874"/>
            <a:ext cx="2618349" cy="3466033"/>
          </a:xfrm>
          <a:prstGeom prst="rect">
            <a:avLst/>
          </a:prstGeom>
          <a:noFill/>
          <a:ln>
            <a:solidFill>
              <a:schemeClr val="bg2">
                <a:lumMod val="9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23254683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sfz2C1qJMSUX3vhOgGv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sfz2C1qJMSUX3vhOgGv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911</TotalTime>
  <Words>1528</Words>
  <Application>Microsoft Office PowerPoint</Application>
  <PresentationFormat>Широкоэкранный</PresentationFormat>
  <Paragraphs>229</Paragraphs>
  <Slides>17</Slides>
  <Notes>6</Notes>
  <HiddenSlides>1</HiddenSlides>
  <MMClips>0</MMClips>
  <ScaleCrop>false</ScaleCrop>
  <HeadingPairs>
    <vt:vector size="8" baseType="variant">
      <vt:variant>
        <vt:lpstr>Использованные шрифты</vt:lpstr>
      </vt:variant>
      <vt:variant>
        <vt:i4>11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7</vt:i4>
      </vt:variant>
    </vt:vector>
  </HeadingPairs>
  <TitlesOfParts>
    <vt:vector size="30" baseType="lpstr">
      <vt:lpstr>맑은 고딕</vt:lpstr>
      <vt:lpstr>Arial</vt:lpstr>
      <vt:lpstr>Arial Black</vt:lpstr>
      <vt:lpstr>Calibri</vt:lpstr>
      <vt:lpstr>Calibri Light</vt:lpstr>
      <vt:lpstr>Franklin Gothic Book</vt:lpstr>
      <vt:lpstr>Open Sans</vt:lpstr>
      <vt:lpstr>Open Sans Condensed</vt:lpstr>
      <vt:lpstr>Open Sans Condensed Light</vt:lpstr>
      <vt:lpstr>Open Sans Extrabold</vt:lpstr>
      <vt:lpstr>Open Sans Light</vt:lpstr>
      <vt:lpstr>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Грачева Екатерина Андреевна</dc:creator>
  <cp:lastModifiedBy>Светлана</cp:lastModifiedBy>
  <cp:revision>437</cp:revision>
  <dcterms:created xsi:type="dcterms:W3CDTF">2020-02-25T09:30:21Z</dcterms:created>
  <dcterms:modified xsi:type="dcterms:W3CDTF">2020-08-26T17:01:40Z</dcterms:modified>
</cp:coreProperties>
</file>